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75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65.xml" ContentType="application/vnd.openxmlformats-officedocument.presentationml.tags+xml"/>
  <Override PartName="/ppt/notesSlides/notesSlide75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332" r:id="rId7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75.xml" Id="rId78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79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75.xml.rels>&#65279;<?xml version="1.0" encoding="utf-8"?><Relationships xmlns="http://schemas.openxmlformats.org/package/2006/relationships"><Relationship Type="http://schemas.openxmlformats.org/officeDocument/2006/relationships/slide" Target="/ppt/slides/slide75.xml" Id="rId2" /><Relationship Type="http://schemas.openxmlformats.org/officeDocument/2006/relationships/notesMaster" Target="/ppt/notesMasters/notesMaster1.xml" Id="rId1" /></Relationship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05779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75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65.xml" Id="rId2" /><Relationship Type="http://schemas.openxmlformats.org/officeDocument/2006/relationships/vmlDrawing" Target="/ppt/drawings/vmlDrawing79.vml" Id="rId1" /><Relationship Type="http://schemas.openxmlformats.org/officeDocument/2006/relationships/image" Target="/ppt/media/image92.emf" Id="rId6" /><Relationship Type="http://schemas.openxmlformats.org/officeDocument/2006/relationships/oleObject" Target="/ppt/embeddings/oleObject79.bin" Id="rId5" /><Relationship Type="http://schemas.openxmlformats.org/officeDocument/2006/relationships/notesSlide" Target="/ppt/notesSlides/notesSlide75.xml" Id="rId4" /></Relationships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9EDFF0F-9836-D9FB-F40E-DB22BDA835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8991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5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EDFF0F-9836-D9FB-F40E-DB22BDA835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3769148" y="1553341"/>
            <a:ext cx="4653714" cy="4504562"/>
            <a:chOff x="10672937" y="2878775"/>
            <a:chExt cx="10083703" cy="9760520"/>
          </a:xfrm>
          <a:solidFill>
            <a:schemeClr val="bg2"/>
          </a:solidFill>
        </p:grpSpPr>
        <p:sp>
          <p:nvSpPr>
            <p:cNvPr id="9" name="Freeform 71"/>
            <p:cNvSpPr>
              <a:spLocks noChangeArrowheads="1"/>
            </p:cNvSpPr>
            <p:nvPr/>
          </p:nvSpPr>
          <p:spPr bwMode="auto">
            <a:xfrm>
              <a:off x="15772533" y="9403150"/>
              <a:ext cx="2314292" cy="2724339"/>
            </a:xfrm>
            <a:custGeom>
              <a:avLst/>
              <a:gdLst>
                <a:gd name="T0" fmla="*/ 2580 w 4505"/>
                <a:gd name="T1" fmla="*/ 340 h 5305"/>
                <a:gd name="T2" fmla="*/ 2972 w 4505"/>
                <a:gd name="T3" fmla="*/ 334 h 5305"/>
                <a:gd name="T4" fmla="*/ 4084 w 4505"/>
                <a:gd name="T5" fmla="*/ 1345 h 5305"/>
                <a:gd name="T6" fmla="*/ 4423 w 4505"/>
                <a:gd name="T7" fmla="*/ 1684 h 5305"/>
                <a:gd name="T8" fmla="*/ 3186 w 4505"/>
                <a:gd name="T9" fmla="*/ 804 h 5305"/>
                <a:gd name="T10" fmla="*/ 2645 w 4505"/>
                <a:gd name="T11" fmla="*/ 400 h 5305"/>
                <a:gd name="T12" fmla="*/ 2330 w 4505"/>
                <a:gd name="T13" fmla="*/ 25 h 5305"/>
                <a:gd name="T14" fmla="*/ 1902 w 4505"/>
                <a:gd name="T15" fmla="*/ 631 h 5305"/>
                <a:gd name="T16" fmla="*/ 2384 w 4505"/>
                <a:gd name="T17" fmla="*/ 1660 h 5305"/>
                <a:gd name="T18" fmla="*/ 2520 w 4505"/>
                <a:gd name="T19" fmla="*/ 1928 h 5305"/>
                <a:gd name="T20" fmla="*/ 1396 w 4505"/>
                <a:gd name="T21" fmla="*/ 2837 h 5305"/>
                <a:gd name="T22" fmla="*/ 809 w 4505"/>
                <a:gd name="T23" fmla="*/ 3182 h 5305"/>
                <a:gd name="T24" fmla="*/ 48 w 4505"/>
                <a:gd name="T25" fmla="*/ 3432 h 5305"/>
                <a:gd name="T26" fmla="*/ 458 w 4505"/>
                <a:gd name="T27" fmla="*/ 4151 h 5305"/>
                <a:gd name="T28" fmla="*/ 803 w 4505"/>
                <a:gd name="T29" fmla="*/ 4615 h 5305"/>
                <a:gd name="T30" fmla="*/ 18 w 4505"/>
                <a:gd name="T31" fmla="*/ 4971 h 5305"/>
                <a:gd name="T32" fmla="*/ 684 w 4505"/>
                <a:gd name="T33" fmla="*/ 5108 h 5305"/>
                <a:gd name="T34" fmla="*/ 1403 w 4505"/>
                <a:gd name="T35" fmla="*/ 5162 h 5305"/>
                <a:gd name="T36" fmla="*/ 1694 w 4505"/>
                <a:gd name="T37" fmla="*/ 5025 h 5305"/>
                <a:gd name="T38" fmla="*/ 2164 w 4505"/>
                <a:gd name="T39" fmla="*/ 5084 h 5305"/>
                <a:gd name="T40" fmla="*/ 1955 w 4505"/>
                <a:gd name="T41" fmla="*/ 4734 h 5305"/>
                <a:gd name="T42" fmla="*/ 1795 w 4505"/>
                <a:gd name="T43" fmla="*/ 4157 h 5305"/>
                <a:gd name="T44" fmla="*/ 1908 w 4505"/>
                <a:gd name="T45" fmla="*/ 3955 h 5305"/>
                <a:gd name="T46" fmla="*/ 2294 w 4505"/>
                <a:gd name="T47" fmla="*/ 3336 h 5305"/>
                <a:gd name="T48" fmla="*/ 2633 w 4505"/>
                <a:gd name="T49" fmla="*/ 3265 h 5305"/>
                <a:gd name="T50" fmla="*/ 2829 w 4505"/>
                <a:gd name="T51" fmla="*/ 3099 h 5305"/>
                <a:gd name="T52" fmla="*/ 3246 w 4505"/>
                <a:gd name="T53" fmla="*/ 2754 h 5305"/>
                <a:gd name="T54" fmla="*/ 3840 w 4505"/>
                <a:gd name="T55" fmla="*/ 2974 h 5305"/>
                <a:gd name="T56" fmla="*/ 4054 w 4505"/>
                <a:gd name="T57" fmla="*/ 2694 h 5305"/>
                <a:gd name="T58" fmla="*/ 4494 w 4505"/>
                <a:gd name="T59" fmla="*/ 1987 h 5305"/>
                <a:gd name="T60" fmla="*/ 4292 w 4505"/>
                <a:gd name="T61" fmla="*/ 2290 h 5305"/>
                <a:gd name="T62" fmla="*/ 3941 w 4505"/>
                <a:gd name="T63" fmla="*/ 2944 h 5305"/>
                <a:gd name="T64" fmla="*/ 3412 w 4505"/>
                <a:gd name="T65" fmla="*/ 2837 h 5305"/>
                <a:gd name="T66" fmla="*/ 2996 w 4505"/>
                <a:gd name="T67" fmla="*/ 2998 h 5305"/>
                <a:gd name="T68" fmla="*/ 2639 w 4505"/>
                <a:gd name="T69" fmla="*/ 3152 h 5305"/>
                <a:gd name="T70" fmla="*/ 2556 w 4505"/>
                <a:gd name="T71" fmla="*/ 3319 h 5305"/>
                <a:gd name="T72" fmla="*/ 2152 w 4505"/>
                <a:gd name="T73" fmla="*/ 3556 h 5305"/>
                <a:gd name="T74" fmla="*/ 1932 w 4505"/>
                <a:gd name="T75" fmla="*/ 4044 h 5305"/>
                <a:gd name="T76" fmla="*/ 1807 w 4505"/>
                <a:gd name="T77" fmla="*/ 4157 h 5305"/>
                <a:gd name="T78" fmla="*/ 1973 w 4505"/>
                <a:gd name="T79" fmla="*/ 4734 h 5305"/>
                <a:gd name="T80" fmla="*/ 2175 w 4505"/>
                <a:gd name="T81" fmla="*/ 5090 h 5305"/>
                <a:gd name="T82" fmla="*/ 1694 w 4505"/>
                <a:gd name="T83" fmla="*/ 5043 h 5305"/>
                <a:gd name="T84" fmla="*/ 1385 w 4505"/>
                <a:gd name="T85" fmla="*/ 5168 h 5305"/>
                <a:gd name="T86" fmla="*/ 684 w 4505"/>
                <a:gd name="T87" fmla="*/ 5120 h 5305"/>
                <a:gd name="T88" fmla="*/ 0 w 4505"/>
                <a:gd name="T89" fmla="*/ 4984 h 5305"/>
                <a:gd name="T90" fmla="*/ 625 w 4505"/>
                <a:gd name="T91" fmla="*/ 4508 h 5305"/>
                <a:gd name="T92" fmla="*/ 458 w 4505"/>
                <a:gd name="T93" fmla="*/ 4020 h 5305"/>
                <a:gd name="T94" fmla="*/ 601 w 4505"/>
                <a:gd name="T95" fmla="*/ 3200 h 5305"/>
                <a:gd name="T96" fmla="*/ 1385 w 4505"/>
                <a:gd name="T97" fmla="*/ 2950 h 5305"/>
                <a:gd name="T98" fmla="*/ 1831 w 4505"/>
                <a:gd name="T99" fmla="*/ 2605 h 5305"/>
                <a:gd name="T100" fmla="*/ 2508 w 4505"/>
                <a:gd name="T101" fmla="*/ 1933 h 5305"/>
                <a:gd name="T102" fmla="*/ 1896 w 4505"/>
                <a:gd name="T103" fmla="*/ 637 h 5305"/>
                <a:gd name="T104" fmla="*/ 2080 w 4505"/>
                <a:gd name="T105" fmla="*/ 203 h 5305"/>
                <a:gd name="T106" fmla="*/ 2325 w 4505"/>
                <a:gd name="T107" fmla="*/ 0 h 5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505" h="5305">
                  <a:moveTo>
                    <a:pt x="2376" y="0"/>
                  </a:moveTo>
                  <a:cubicBezTo>
                    <a:pt x="2406" y="18"/>
                    <a:pt x="2439" y="53"/>
                    <a:pt x="2473" y="91"/>
                  </a:cubicBezTo>
                  <a:cubicBezTo>
                    <a:pt x="2514" y="144"/>
                    <a:pt x="2556" y="209"/>
                    <a:pt x="2556" y="245"/>
                  </a:cubicBezTo>
                  <a:cubicBezTo>
                    <a:pt x="2556" y="275"/>
                    <a:pt x="2562" y="316"/>
                    <a:pt x="2580" y="340"/>
                  </a:cubicBezTo>
                  <a:cubicBezTo>
                    <a:pt x="2598" y="370"/>
                    <a:pt x="2621" y="388"/>
                    <a:pt x="2645" y="388"/>
                  </a:cubicBezTo>
                  <a:cubicBezTo>
                    <a:pt x="2657" y="388"/>
                    <a:pt x="2669" y="382"/>
                    <a:pt x="2681" y="370"/>
                  </a:cubicBezTo>
                  <a:cubicBezTo>
                    <a:pt x="2722" y="328"/>
                    <a:pt x="2782" y="310"/>
                    <a:pt x="2841" y="310"/>
                  </a:cubicBezTo>
                  <a:cubicBezTo>
                    <a:pt x="2889" y="310"/>
                    <a:pt x="2930" y="316"/>
                    <a:pt x="2972" y="334"/>
                  </a:cubicBezTo>
                  <a:cubicBezTo>
                    <a:pt x="3067" y="376"/>
                    <a:pt x="3162" y="715"/>
                    <a:pt x="3198" y="798"/>
                  </a:cubicBezTo>
                  <a:cubicBezTo>
                    <a:pt x="3228" y="875"/>
                    <a:pt x="3382" y="1006"/>
                    <a:pt x="3465" y="1190"/>
                  </a:cubicBezTo>
                  <a:cubicBezTo>
                    <a:pt x="3549" y="1375"/>
                    <a:pt x="3638" y="1369"/>
                    <a:pt x="3727" y="1375"/>
                  </a:cubicBezTo>
                  <a:cubicBezTo>
                    <a:pt x="3810" y="1375"/>
                    <a:pt x="3971" y="1345"/>
                    <a:pt x="4084" y="1345"/>
                  </a:cubicBezTo>
                  <a:cubicBezTo>
                    <a:pt x="4197" y="1351"/>
                    <a:pt x="4363" y="1553"/>
                    <a:pt x="4435" y="1672"/>
                  </a:cubicBezTo>
                  <a:cubicBezTo>
                    <a:pt x="4467" y="1726"/>
                    <a:pt x="4491" y="1772"/>
                    <a:pt x="4504" y="1817"/>
                  </a:cubicBezTo>
                  <a:lnTo>
                    <a:pt x="4504" y="1873"/>
                  </a:lnTo>
                  <a:cubicBezTo>
                    <a:pt x="4497" y="1814"/>
                    <a:pt x="4468" y="1760"/>
                    <a:pt x="4423" y="1684"/>
                  </a:cubicBezTo>
                  <a:cubicBezTo>
                    <a:pt x="4357" y="1559"/>
                    <a:pt x="4179" y="1357"/>
                    <a:pt x="4084" y="1363"/>
                  </a:cubicBezTo>
                  <a:cubicBezTo>
                    <a:pt x="3971" y="1363"/>
                    <a:pt x="3816" y="1386"/>
                    <a:pt x="3727" y="1386"/>
                  </a:cubicBezTo>
                  <a:cubicBezTo>
                    <a:pt x="3638" y="1386"/>
                    <a:pt x="3531" y="1386"/>
                    <a:pt x="3454" y="1196"/>
                  </a:cubicBezTo>
                  <a:cubicBezTo>
                    <a:pt x="3370" y="1012"/>
                    <a:pt x="3216" y="887"/>
                    <a:pt x="3186" y="804"/>
                  </a:cubicBezTo>
                  <a:cubicBezTo>
                    <a:pt x="3150" y="721"/>
                    <a:pt x="3049" y="382"/>
                    <a:pt x="2966" y="346"/>
                  </a:cubicBezTo>
                  <a:cubicBezTo>
                    <a:pt x="2925" y="334"/>
                    <a:pt x="2883" y="322"/>
                    <a:pt x="2841" y="322"/>
                  </a:cubicBezTo>
                  <a:cubicBezTo>
                    <a:pt x="2788" y="322"/>
                    <a:pt x="2728" y="340"/>
                    <a:pt x="2693" y="376"/>
                  </a:cubicBezTo>
                  <a:cubicBezTo>
                    <a:pt x="2675" y="394"/>
                    <a:pt x="2657" y="400"/>
                    <a:pt x="2645" y="400"/>
                  </a:cubicBezTo>
                  <a:cubicBezTo>
                    <a:pt x="2580" y="400"/>
                    <a:pt x="2538" y="316"/>
                    <a:pt x="2538" y="245"/>
                  </a:cubicBezTo>
                  <a:cubicBezTo>
                    <a:pt x="2538" y="215"/>
                    <a:pt x="2502" y="156"/>
                    <a:pt x="2461" y="102"/>
                  </a:cubicBezTo>
                  <a:cubicBezTo>
                    <a:pt x="2413" y="49"/>
                    <a:pt x="2360" y="1"/>
                    <a:pt x="2342" y="1"/>
                  </a:cubicBezTo>
                  <a:cubicBezTo>
                    <a:pt x="2336" y="7"/>
                    <a:pt x="2330" y="7"/>
                    <a:pt x="2330" y="25"/>
                  </a:cubicBezTo>
                  <a:cubicBezTo>
                    <a:pt x="2330" y="138"/>
                    <a:pt x="2181" y="215"/>
                    <a:pt x="2080" y="215"/>
                  </a:cubicBezTo>
                  <a:cubicBezTo>
                    <a:pt x="2056" y="215"/>
                    <a:pt x="2015" y="269"/>
                    <a:pt x="1973" y="340"/>
                  </a:cubicBezTo>
                  <a:cubicBezTo>
                    <a:pt x="1932" y="411"/>
                    <a:pt x="1890" y="501"/>
                    <a:pt x="1860" y="578"/>
                  </a:cubicBezTo>
                  <a:cubicBezTo>
                    <a:pt x="1878" y="602"/>
                    <a:pt x="1890" y="620"/>
                    <a:pt x="1902" y="631"/>
                  </a:cubicBezTo>
                  <a:cubicBezTo>
                    <a:pt x="1973" y="703"/>
                    <a:pt x="2080" y="994"/>
                    <a:pt x="2086" y="1238"/>
                  </a:cubicBezTo>
                  <a:cubicBezTo>
                    <a:pt x="2086" y="1357"/>
                    <a:pt x="2134" y="1464"/>
                    <a:pt x="2199" y="1541"/>
                  </a:cubicBezTo>
                  <a:cubicBezTo>
                    <a:pt x="2265" y="1612"/>
                    <a:pt x="2336" y="1660"/>
                    <a:pt x="2378" y="1660"/>
                  </a:cubicBezTo>
                  <a:cubicBezTo>
                    <a:pt x="2378" y="1660"/>
                    <a:pt x="2378" y="1660"/>
                    <a:pt x="2384" y="1660"/>
                  </a:cubicBezTo>
                  <a:lnTo>
                    <a:pt x="2384" y="1666"/>
                  </a:lnTo>
                  <a:cubicBezTo>
                    <a:pt x="2384" y="1666"/>
                    <a:pt x="2378" y="1690"/>
                    <a:pt x="2378" y="1719"/>
                  </a:cubicBezTo>
                  <a:cubicBezTo>
                    <a:pt x="2378" y="1779"/>
                    <a:pt x="2395" y="1880"/>
                    <a:pt x="2520" y="1922"/>
                  </a:cubicBezTo>
                  <a:lnTo>
                    <a:pt x="2520" y="1928"/>
                  </a:lnTo>
                  <a:cubicBezTo>
                    <a:pt x="2520" y="1928"/>
                    <a:pt x="2360" y="2314"/>
                    <a:pt x="2211" y="2350"/>
                  </a:cubicBezTo>
                  <a:cubicBezTo>
                    <a:pt x="2068" y="2379"/>
                    <a:pt x="1985" y="2397"/>
                    <a:pt x="1985" y="2462"/>
                  </a:cubicBezTo>
                  <a:cubicBezTo>
                    <a:pt x="1985" y="2546"/>
                    <a:pt x="1783" y="2706"/>
                    <a:pt x="1450" y="2712"/>
                  </a:cubicBezTo>
                  <a:cubicBezTo>
                    <a:pt x="1438" y="2724"/>
                    <a:pt x="1396" y="2778"/>
                    <a:pt x="1396" y="2837"/>
                  </a:cubicBezTo>
                  <a:cubicBezTo>
                    <a:pt x="1396" y="2861"/>
                    <a:pt x="1403" y="2903"/>
                    <a:pt x="1403" y="2950"/>
                  </a:cubicBezTo>
                  <a:cubicBezTo>
                    <a:pt x="1403" y="3051"/>
                    <a:pt x="1379" y="3182"/>
                    <a:pt x="1230" y="3182"/>
                  </a:cubicBezTo>
                  <a:cubicBezTo>
                    <a:pt x="1087" y="3182"/>
                    <a:pt x="1022" y="3152"/>
                    <a:pt x="945" y="3152"/>
                  </a:cubicBezTo>
                  <a:cubicBezTo>
                    <a:pt x="904" y="3152"/>
                    <a:pt x="863" y="3158"/>
                    <a:pt x="809" y="3182"/>
                  </a:cubicBezTo>
                  <a:cubicBezTo>
                    <a:pt x="744" y="3206"/>
                    <a:pt x="672" y="3212"/>
                    <a:pt x="601" y="3212"/>
                  </a:cubicBezTo>
                  <a:cubicBezTo>
                    <a:pt x="470" y="3212"/>
                    <a:pt x="333" y="3188"/>
                    <a:pt x="244" y="3188"/>
                  </a:cubicBezTo>
                  <a:cubicBezTo>
                    <a:pt x="197" y="3188"/>
                    <a:pt x="149" y="3218"/>
                    <a:pt x="107" y="3259"/>
                  </a:cubicBezTo>
                  <a:cubicBezTo>
                    <a:pt x="72" y="3307"/>
                    <a:pt x="48" y="3366"/>
                    <a:pt x="48" y="3432"/>
                  </a:cubicBezTo>
                  <a:cubicBezTo>
                    <a:pt x="48" y="3485"/>
                    <a:pt x="66" y="3539"/>
                    <a:pt x="107" y="3580"/>
                  </a:cubicBezTo>
                  <a:cubicBezTo>
                    <a:pt x="244" y="3717"/>
                    <a:pt x="476" y="3741"/>
                    <a:pt x="476" y="4020"/>
                  </a:cubicBezTo>
                  <a:cubicBezTo>
                    <a:pt x="476" y="4056"/>
                    <a:pt x="470" y="4103"/>
                    <a:pt x="464" y="4151"/>
                  </a:cubicBezTo>
                  <a:cubicBezTo>
                    <a:pt x="458" y="4151"/>
                    <a:pt x="458" y="4151"/>
                    <a:pt x="458" y="4151"/>
                  </a:cubicBezTo>
                  <a:cubicBezTo>
                    <a:pt x="458" y="4151"/>
                    <a:pt x="339" y="4264"/>
                    <a:pt x="339" y="4323"/>
                  </a:cubicBezTo>
                  <a:cubicBezTo>
                    <a:pt x="339" y="4353"/>
                    <a:pt x="381" y="4383"/>
                    <a:pt x="440" y="4412"/>
                  </a:cubicBezTo>
                  <a:cubicBezTo>
                    <a:pt x="500" y="4442"/>
                    <a:pt x="577" y="4466"/>
                    <a:pt x="631" y="4496"/>
                  </a:cubicBezTo>
                  <a:cubicBezTo>
                    <a:pt x="738" y="4555"/>
                    <a:pt x="797" y="4615"/>
                    <a:pt x="803" y="4615"/>
                  </a:cubicBezTo>
                  <a:lnTo>
                    <a:pt x="803" y="4621"/>
                  </a:lnTo>
                  <a:cubicBezTo>
                    <a:pt x="803" y="4626"/>
                    <a:pt x="797" y="4626"/>
                    <a:pt x="797" y="4626"/>
                  </a:cubicBezTo>
                  <a:cubicBezTo>
                    <a:pt x="797" y="4626"/>
                    <a:pt x="547" y="4680"/>
                    <a:pt x="458" y="4680"/>
                  </a:cubicBezTo>
                  <a:cubicBezTo>
                    <a:pt x="399" y="4680"/>
                    <a:pt x="185" y="4882"/>
                    <a:pt x="18" y="4971"/>
                  </a:cubicBezTo>
                  <a:cubicBezTo>
                    <a:pt x="60" y="4983"/>
                    <a:pt x="119" y="5013"/>
                    <a:pt x="220" y="5108"/>
                  </a:cubicBezTo>
                  <a:cubicBezTo>
                    <a:pt x="298" y="5191"/>
                    <a:pt x="333" y="5221"/>
                    <a:pt x="363" y="5221"/>
                  </a:cubicBezTo>
                  <a:cubicBezTo>
                    <a:pt x="393" y="5221"/>
                    <a:pt x="440" y="5185"/>
                    <a:pt x="565" y="5132"/>
                  </a:cubicBezTo>
                  <a:cubicBezTo>
                    <a:pt x="601" y="5114"/>
                    <a:pt x="642" y="5108"/>
                    <a:pt x="684" y="5108"/>
                  </a:cubicBezTo>
                  <a:cubicBezTo>
                    <a:pt x="922" y="5108"/>
                    <a:pt x="1224" y="5304"/>
                    <a:pt x="1266" y="5298"/>
                  </a:cubicBezTo>
                  <a:cubicBezTo>
                    <a:pt x="1284" y="5304"/>
                    <a:pt x="1307" y="5269"/>
                    <a:pt x="1325" y="5233"/>
                  </a:cubicBezTo>
                  <a:cubicBezTo>
                    <a:pt x="1343" y="5197"/>
                    <a:pt x="1355" y="5156"/>
                    <a:pt x="1385" y="5156"/>
                  </a:cubicBezTo>
                  <a:cubicBezTo>
                    <a:pt x="1391" y="5156"/>
                    <a:pt x="1396" y="5162"/>
                    <a:pt x="1403" y="5162"/>
                  </a:cubicBezTo>
                  <a:cubicBezTo>
                    <a:pt x="1414" y="5180"/>
                    <a:pt x="1426" y="5180"/>
                    <a:pt x="1444" y="5180"/>
                  </a:cubicBezTo>
                  <a:cubicBezTo>
                    <a:pt x="1456" y="5180"/>
                    <a:pt x="1468" y="5180"/>
                    <a:pt x="1480" y="5173"/>
                  </a:cubicBezTo>
                  <a:cubicBezTo>
                    <a:pt x="1492" y="5168"/>
                    <a:pt x="1498" y="5168"/>
                    <a:pt x="1498" y="5168"/>
                  </a:cubicBezTo>
                  <a:cubicBezTo>
                    <a:pt x="1593" y="5043"/>
                    <a:pt x="1670" y="5025"/>
                    <a:pt x="1694" y="5025"/>
                  </a:cubicBezTo>
                  <a:cubicBezTo>
                    <a:pt x="1700" y="5025"/>
                    <a:pt x="1700" y="5025"/>
                    <a:pt x="1706" y="5031"/>
                  </a:cubicBezTo>
                  <a:cubicBezTo>
                    <a:pt x="1860" y="5090"/>
                    <a:pt x="1973" y="5108"/>
                    <a:pt x="2045" y="5108"/>
                  </a:cubicBezTo>
                  <a:cubicBezTo>
                    <a:pt x="2092" y="5108"/>
                    <a:pt x="2122" y="5102"/>
                    <a:pt x="2140" y="5096"/>
                  </a:cubicBezTo>
                  <a:lnTo>
                    <a:pt x="2164" y="5084"/>
                  </a:lnTo>
                  <a:cubicBezTo>
                    <a:pt x="2169" y="5078"/>
                    <a:pt x="2169" y="5072"/>
                    <a:pt x="2169" y="5061"/>
                  </a:cubicBezTo>
                  <a:cubicBezTo>
                    <a:pt x="2169" y="5001"/>
                    <a:pt x="2110" y="4894"/>
                    <a:pt x="2062" y="4846"/>
                  </a:cubicBezTo>
                  <a:cubicBezTo>
                    <a:pt x="2039" y="4823"/>
                    <a:pt x="2009" y="4811"/>
                    <a:pt x="1991" y="4799"/>
                  </a:cubicBezTo>
                  <a:cubicBezTo>
                    <a:pt x="1973" y="4787"/>
                    <a:pt x="1955" y="4769"/>
                    <a:pt x="1955" y="4734"/>
                  </a:cubicBezTo>
                  <a:cubicBezTo>
                    <a:pt x="1955" y="4668"/>
                    <a:pt x="1908" y="4531"/>
                    <a:pt x="1908" y="4502"/>
                  </a:cubicBezTo>
                  <a:cubicBezTo>
                    <a:pt x="1908" y="4478"/>
                    <a:pt x="1932" y="4407"/>
                    <a:pt x="1932" y="4341"/>
                  </a:cubicBezTo>
                  <a:cubicBezTo>
                    <a:pt x="1932" y="4317"/>
                    <a:pt x="1932" y="4294"/>
                    <a:pt x="1920" y="4282"/>
                  </a:cubicBezTo>
                  <a:cubicBezTo>
                    <a:pt x="1890" y="4222"/>
                    <a:pt x="1795" y="4234"/>
                    <a:pt x="1795" y="4157"/>
                  </a:cubicBezTo>
                  <a:cubicBezTo>
                    <a:pt x="1795" y="4145"/>
                    <a:pt x="1795" y="4133"/>
                    <a:pt x="1801" y="4115"/>
                  </a:cubicBezTo>
                  <a:cubicBezTo>
                    <a:pt x="1825" y="4044"/>
                    <a:pt x="1854" y="4026"/>
                    <a:pt x="1884" y="4026"/>
                  </a:cubicBezTo>
                  <a:cubicBezTo>
                    <a:pt x="1896" y="4026"/>
                    <a:pt x="1908" y="4026"/>
                    <a:pt x="1920" y="4032"/>
                  </a:cubicBezTo>
                  <a:cubicBezTo>
                    <a:pt x="1914" y="4002"/>
                    <a:pt x="1908" y="3979"/>
                    <a:pt x="1908" y="3955"/>
                  </a:cubicBezTo>
                  <a:cubicBezTo>
                    <a:pt x="1908" y="3842"/>
                    <a:pt x="1961" y="3741"/>
                    <a:pt x="2015" y="3663"/>
                  </a:cubicBezTo>
                  <a:cubicBezTo>
                    <a:pt x="2074" y="3592"/>
                    <a:pt x="2128" y="3545"/>
                    <a:pt x="2152" y="3545"/>
                  </a:cubicBezTo>
                  <a:cubicBezTo>
                    <a:pt x="2164" y="3545"/>
                    <a:pt x="2175" y="3515"/>
                    <a:pt x="2193" y="3467"/>
                  </a:cubicBezTo>
                  <a:cubicBezTo>
                    <a:pt x="2217" y="3426"/>
                    <a:pt x="2247" y="3372"/>
                    <a:pt x="2294" y="3336"/>
                  </a:cubicBezTo>
                  <a:cubicBezTo>
                    <a:pt x="2336" y="3307"/>
                    <a:pt x="2395" y="3301"/>
                    <a:pt x="2449" y="3301"/>
                  </a:cubicBezTo>
                  <a:lnTo>
                    <a:pt x="2556" y="3301"/>
                  </a:lnTo>
                  <a:cubicBezTo>
                    <a:pt x="2586" y="3301"/>
                    <a:pt x="2609" y="3301"/>
                    <a:pt x="2621" y="3289"/>
                  </a:cubicBezTo>
                  <a:cubicBezTo>
                    <a:pt x="2627" y="3283"/>
                    <a:pt x="2627" y="3277"/>
                    <a:pt x="2633" y="3265"/>
                  </a:cubicBezTo>
                  <a:cubicBezTo>
                    <a:pt x="2633" y="3247"/>
                    <a:pt x="2609" y="3218"/>
                    <a:pt x="2609" y="3188"/>
                  </a:cubicBezTo>
                  <a:cubicBezTo>
                    <a:pt x="2609" y="3170"/>
                    <a:pt x="2615" y="3158"/>
                    <a:pt x="2633" y="3140"/>
                  </a:cubicBezTo>
                  <a:cubicBezTo>
                    <a:pt x="2669" y="3105"/>
                    <a:pt x="2740" y="3099"/>
                    <a:pt x="2788" y="3099"/>
                  </a:cubicBezTo>
                  <a:lnTo>
                    <a:pt x="2829" y="3099"/>
                  </a:lnTo>
                  <a:cubicBezTo>
                    <a:pt x="2835" y="3099"/>
                    <a:pt x="2859" y="3075"/>
                    <a:pt x="2889" y="3051"/>
                  </a:cubicBezTo>
                  <a:cubicBezTo>
                    <a:pt x="2919" y="3021"/>
                    <a:pt x="2954" y="2992"/>
                    <a:pt x="2990" y="2986"/>
                  </a:cubicBezTo>
                  <a:cubicBezTo>
                    <a:pt x="3014" y="2980"/>
                    <a:pt x="3037" y="2932"/>
                    <a:pt x="3073" y="2879"/>
                  </a:cubicBezTo>
                  <a:cubicBezTo>
                    <a:pt x="3103" y="2825"/>
                    <a:pt x="3156" y="2766"/>
                    <a:pt x="3246" y="2754"/>
                  </a:cubicBezTo>
                  <a:cubicBezTo>
                    <a:pt x="3258" y="2748"/>
                    <a:pt x="3269" y="2748"/>
                    <a:pt x="3281" y="2748"/>
                  </a:cubicBezTo>
                  <a:cubicBezTo>
                    <a:pt x="3353" y="2748"/>
                    <a:pt x="3394" y="2790"/>
                    <a:pt x="3418" y="2831"/>
                  </a:cubicBezTo>
                  <a:cubicBezTo>
                    <a:pt x="3448" y="2867"/>
                    <a:pt x="3472" y="2903"/>
                    <a:pt x="3513" y="2903"/>
                  </a:cubicBezTo>
                  <a:cubicBezTo>
                    <a:pt x="3620" y="2903"/>
                    <a:pt x="3816" y="2974"/>
                    <a:pt x="3840" y="2974"/>
                  </a:cubicBezTo>
                  <a:cubicBezTo>
                    <a:pt x="3864" y="2974"/>
                    <a:pt x="3870" y="2950"/>
                    <a:pt x="3870" y="2950"/>
                  </a:cubicBezTo>
                  <a:cubicBezTo>
                    <a:pt x="3870" y="2944"/>
                    <a:pt x="3870" y="2944"/>
                    <a:pt x="3876" y="2944"/>
                  </a:cubicBezTo>
                  <a:cubicBezTo>
                    <a:pt x="3900" y="2938"/>
                    <a:pt x="3917" y="2932"/>
                    <a:pt x="3935" y="2932"/>
                  </a:cubicBezTo>
                  <a:cubicBezTo>
                    <a:pt x="3983" y="2825"/>
                    <a:pt x="4036" y="2718"/>
                    <a:pt x="4054" y="2694"/>
                  </a:cubicBezTo>
                  <a:cubicBezTo>
                    <a:pt x="4084" y="2665"/>
                    <a:pt x="4280" y="2462"/>
                    <a:pt x="4280" y="2326"/>
                  </a:cubicBezTo>
                  <a:lnTo>
                    <a:pt x="4280" y="2290"/>
                  </a:lnTo>
                  <a:cubicBezTo>
                    <a:pt x="4274" y="2278"/>
                    <a:pt x="4274" y="2266"/>
                    <a:pt x="4274" y="2255"/>
                  </a:cubicBezTo>
                  <a:cubicBezTo>
                    <a:pt x="4274" y="2130"/>
                    <a:pt x="4470" y="2088"/>
                    <a:pt x="4494" y="1987"/>
                  </a:cubicBezTo>
                  <a:cubicBezTo>
                    <a:pt x="4498" y="1968"/>
                    <a:pt x="4502" y="1951"/>
                    <a:pt x="4504" y="1934"/>
                  </a:cubicBezTo>
                  <a:lnTo>
                    <a:pt x="4504" y="2000"/>
                  </a:lnTo>
                  <a:cubicBezTo>
                    <a:pt x="4469" y="2108"/>
                    <a:pt x="4286" y="2145"/>
                    <a:pt x="4286" y="2255"/>
                  </a:cubicBezTo>
                  <a:cubicBezTo>
                    <a:pt x="4286" y="2266"/>
                    <a:pt x="4286" y="2278"/>
                    <a:pt x="4292" y="2290"/>
                  </a:cubicBezTo>
                  <a:cubicBezTo>
                    <a:pt x="4292" y="2302"/>
                    <a:pt x="4298" y="2314"/>
                    <a:pt x="4298" y="2326"/>
                  </a:cubicBezTo>
                  <a:cubicBezTo>
                    <a:pt x="4298" y="2474"/>
                    <a:pt x="4096" y="2671"/>
                    <a:pt x="4066" y="2706"/>
                  </a:cubicBezTo>
                  <a:cubicBezTo>
                    <a:pt x="4048" y="2718"/>
                    <a:pt x="3995" y="2837"/>
                    <a:pt x="3947" y="2938"/>
                  </a:cubicBezTo>
                  <a:cubicBezTo>
                    <a:pt x="3947" y="2944"/>
                    <a:pt x="3947" y="2944"/>
                    <a:pt x="3941" y="2944"/>
                  </a:cubicBezTo>
                  <a:cubicBezTo>
                    <a:pt x="3923" y="2944"/>
                    <a:pt x="3906" y="2950"/>
                    <a:pt x="3882" y="2956"/>
                  </a:cubicBezTo>
                  <a:cubicBezTo>
                    <a:pt x="3882" y="2968"/>
                    <a:pt x="3870" y="2986"/>
                    <a:pt x="3840" y="2992"/>
                  </a:cubicBezTo>
                  <a:cubicBezTo>
                    <a:pt x="3810" y="2986"/>
                    <a:pt x="3620" y="2920"/>
                    <a:pt x="3513" y="2920"/>
                  </a:cubicBezTo>
                  <a:cubicBezTo>
                    <a:pt x="3465" y="2920"/>
                    <a:pt x="3436" y="2879"/>
                    <a:pt x="3412" y="2837"/>
                  </a:cubicBezTo>
                  <a:cubicBezTo>
                    <a:pt x="3382" y="2801"/>
                    <a:pt x="3347" y="2766"/>
                    <a:pt x="3281" y="2766"/>
                  </a:cubicBezTo>
                  <a:lnTo>
                    <a:pt x="3246" y="2766"/>
                  </a:lnTo>
                  <a:cubicBezTo>
                    <a:pt x="3162" y="2784"/>
                    <a:pt x="3115" y="2837"/>
                    <a:pt x="3085" y="2885"/>
                  </a:cubicBezTo>
                  <a:cubicBezTo>
                    <a:pt x="3049" y="2938"/>
                    <a:pt x="3032" y="2992"/>
                    <a:pt x="2996" y="2998"/>
                  </a:cubicBezTo>
                  <a:cubicBezTo>
                    <a:pt x="2966" y="3004"/>
                    <a:pt x="2930" y="3033"/>
                    <a:pt x="2901" y="3057"/>
                  </a:cubicBezTo>
                  <a:cubicBezTo>
                    <a:pt x="2871" y="3087"/>
                    <a:pt x="2847" y="3111"/>
                    <a:pt x="2829" y="3111"/>
                  </a:cubicBezTo>
                  <a:lnTo>
                    <a:pt x="2788" y="3111"/>
                  </a:lnTo>
                  <a:cubicBezTo>
                    <a:pt x="2740" y="3111"/>
                    <a:pt x="2675" y="3117"/>
                    <a:pt x="2639" y="3152"/>
                  </a:cubicBezTo>
                  <a:cubicBezTo>
                    <a:pt x="2627" y="3164"/>
                    <a:pt x="2627" y="3176"/>
                    <a:pt x="2627" y="3188"/>
                  </a:cubicBezTo>
                  <a:cubicBezTo>
                    <a:pt x="2621" y="3212"/>
                    <a:pt x="2645" y="3235"/>
                    <a:pt x="2645" y="3265"/>
                  </a:cubicBezTo>
                  <a:cubicBezTo>
                    <a:pt x="2645" y="3277"/>
                    <a:pt x="2639" y="3289"/>
                    <a:pt x="2633" y="3301"/>
                  </a:cubicBezTo>
                  <a:cubicBezTo>
                    <a:pt x="2615" y="3313"/>
                    <a:pt x="2592" y="3319"/>
                    <a:pt x="2556" y="3319"/>
                  </a:cubicBezTo>
                  <a:cubicBezTo>
                    <a:pt x="2526" y="3319"/>
                    <a:pt x="2485" y="3313"/>
                    <a:pt x="2449" y="3313"/>
                  </a:cubicBezTo>
                  <a:cubicBezTo>
                    <a:pt x="2395" y="3313"/>
                    <a:pt x="2342" y="3319"/>
                    <a:pt x="2306" y="3348"/>
                  </a:cubicBezTo>
                  <a:cubicBezTo>
                    <a:pt x="2259" y="3384"/>
                    <a:pt x="2229" y="3432"/>
                    <a:pt x="2211" y="3473"/>
                  </a:cubicBezTo>
                  <a:cubicBezTo>
                    <a:pt x="2187" y="3515"/>
                    <a:pt x="2181" y="3556"/>
                    <a:pt x="2152" y="3556"/>
                  </a:cubicBezTo>
                  <a:cubicBezTo>
                    <a:pt x="2140" y="3556"/>
                    <a:pt x="2080" y="3598"/>
                    <a:pt x="2027" y="3675"/>
                  </a:cubicBezTo>
                  <a:cubicBezTo>
                    <a:pt x="1973" y="3747"/>
                    <a:pt x="1926" y="3848"/>
                    <a:pt x="1926" y="3955"/>
                  </a:cubicBezTo>
                  <a:cubicBezTo>
                    <a:pt x="1926" y="3979"/>
                    <a:pt x="1926" y="4008"/>
                    <a:pt x="1932" y="4038"/>
                  </a:cubicBezTo>
                  <a:lnTo>
                    <a:pt x="1932" y="4044"/>
                  </a:lnTo>
                  <a:lnTo>
                    <a:pt x="1926" y="4044"/>
                  </a:lnTo>
                  <a:cubicBezTo>
                    <a:pt x="1914" y="4044"/>
                    <a:pt x="1896" y="4038"/>
                    <a:pt x="1884" y="4038"/>
                  </a:cubicBezTo>
                  <a:cubicBezTo>
                    <a:pt x="1860" y="4038"/>
                    <a:pt x="1842" y="4050"/>
                    <a:pt x="1813" y="4121"/>
                  </a:cubicBezTo>
                  <a:cubicBezTo>
                    <a:pt x="1813" y="4133"/>
                    <a:pt x="1807" y="4145"/>
                    <a:pt x="1807" y="4157"/>
                  </a:cubicBezTo>
                  <a:cubicBezTo>
                    <a:pt x="1807" y="4216"/>
                    <a:pt x="1890" y="4210"/>
                    <a:pt x="1932" y="4270"/>
                  </a:cubicBezTo>
                  <a:cubicBezTo>
                    <a:pt x="1943" y="4294"/>
                    <a:pt x="1950" y="4317"/>
                    <a:pt x="1950" y="4341"/>
                  </a:cubicBezTo>
                  <a:cubicBezTo>
                    <a:pt x="1950" y="4407"/>
                    <a:pt x="1920" y="4484"/>
                    <a:pt x="1920" y="4502"/>
                  </a:cubicBezTo>
                  <a:cubicBezTo>
                    <a:pt x="1920" y="4525"/>
                    <a:pt x="1967" y="4668"/>
                    <a:pt x="1973" y="4734"/>
                  </a:cubicBezTo>
                  <a:cubicBezTo>
                    <a:pt x="1973" y="4769"/>
                    <a:pt x="1979" y="4775"/>
                    <a:pt x="1997" y="4787"/>
                  </a:cubicBezTo>
                  <a:cubicBezTo>
                    <a:pt x="2015" y="4799"/>
                    <a:pt x="2045" y="4811"/>
                    <a:pt x="2074" y="4841"/>
                  </a:cubicBezTo>
                  <a:cubicBezTo>
                    <a:pt x="2122" y="4888"/>
                    <a:pt x="2181" y="4989"/>
                    <a:pt x="2181" y="5061"/>
                  </a:cubicBezTo>
                  <a:cubicBezTo>
                    <a:pt x="2181" y="5072"/>
                    <a:pt x="2181" y="5084"/>
                    <a:pt x="2175" y="5090"/>
                  </a:cubicBezTo>
                  <a:lnTo>
                    <a:pt x="2175" y="5096"/>
                  </a:lnTo>
                  <a:cubicBezTo>
                    <a:pt x="2175" y="5096"/>
                    <a:pt x="2140" y="5120"/>
                    <a:pt x="2045" y="5120"/>
                  </a:cubicBezTo>
                  <a:cubicBezTo>
                    <a:pt x="1967" y="5120"/>
                    <a:pt x="1860" y="5102"/>
                    <a:pt x="1700" y="5043"/>
                  </a:cubicBezTo>
                  <a:lnTo>
                    <a:pt x="1694" y="5043"/>
                  </a:lnTo>
                  <a:cubicBezTo>
                    <a:pt x="1676" y="5043"/>
                    <a:pt x="1605" y="5049"/>
                    <a:pt x="1509" y="5173"/>
                  </a:cubicBezTo>
                  <a:cubicBezTo>
                    <a:pt x="1504" y="5173"/>
                    <a:pt x="1480" y="5197"/>
                    <a:pt x="1444" y="5197"/>
                  </a:cubicBezTo>
                  <a:cubicBezTo>
                    <a:pt x="1426" y="5197"/>
                    <a:pt x="1408" y="5191"/>
                    <a:pt x="1391" y="5173"/>
                  </a:cubicBezTo>
                  <a:lnTo>
                    <a:pt x="1385" y="5168"/>
                  </a:lnTo>
                  <a:cubicBezTo>
                    <a:pt x="1373" y="5168"/>
                    <a:pt x="1355" y="5203"/>
                    <a:pt x="1337" y="5239"/>
                  </a:cubicBezTo>
                  <a:cubicBezTo>
                    <a:pt x="1325" y="5265"/>
                    <a:pt x="1312" y="5290"/>
                    <a:pt x="1293" y="5304"/>
                  </a:cubicBezTo>
                  <a:lnTo>
                    <a:pt x="1231" y="5304"/>
                  </a:lnTo>
                  <a:cubicBezTo>
                    <a:pt x="1132" y="5261"/>
                    <a:pt x="884" y="5120"/>
                    <a:pt x="684" y="5120"/>
                  </a:cubicBezTo>
                  <a:cubicBezTo>
                    <a:pt x="642" y="5120"/>
                    <a:pt x="607" y="5126"/>
                    <a:pt x="571" y="5144"/>
                  </a:cubicBezTo>
                  <a:cubicBezTo>
                    <a:pt x="446" y="5197"/>
                    <a:pt x="405" y="5233"/>
                    <a:pt x="363" y="5233"/>
                  </a:cubicBezTo>
                  <a:cubicBezTo>
                    <a:pt x="321" y="5233"/>
                    <a:pt x="292" y="5203"/>
                    <a:pt x="208" y="5120"/>
                  </a:cubicBezTo>
                  <a:cubicBezTo>
                    <a:pt x="101" y="5012"/>
                    <a:pt x="41" y="4991"/>
                    <a:pt x="0" y="4984"/>
                  </a:cubicBezTo>
                  <a:lnTo>
                    <a:pt x="0" y="4962"/>
                  </a:lnTo>
                  <a:cubicBezTo>
                    <a:pt x="166" y="4883"/>
                    <a:pt x="381" y="4668"/>
                    <a:pt x="458" y="4668"/>
                  </a:cubicBezTo>
                  <a:cubicBezTo>
                    <a:pt x="530" y="4668"/>
                    <a:pt x="726" y="4626"/>
                    <a:pt x="779" y="4615"/>
                  </a:cubicBezTo>
                  <a:cubicBezTo>
                    <a:pt x="761" y="4597"/>
                    <a:pt x="708" y="4555"/>
                    <a:pt x="625" y="4508"/>
                  </a:cubicBezTo>
                  <a:cubicBezTo>
                    <a:pt x="571" y="4484"/>
                    <a:pt x="494" y="4454"/>
                    <a:pt x="434" y="4424"/>
                  </a:cubicBezTo>
                  <a:cubicBezTo>
                    <a:pt x="375" y="4395"/>
                    <a:pt x="327" y="4365"/>
                    <a:pt x="327" y="4323"/>
                  </a:cubicBezTo>
                  <a:cubicBezTo>
                    <a:pt x="327" y="4252"/>
                    <a:pt x="434" y="4157"/>
                    <a:pt x="446" y="4145"/>
                  </a:cubicBezTo>
                  <a:cubicBezTo>
                    <a:pt x="458" y="4097"/>
                    <a:pt x="458" y="4056"/>
                    <a:pt x="458" y="4020"/>
                  </a:cubicBezTo>
                  <a:cubicBezTo>
                    <a:pt x="464" y="3753"/>
                    <a:pt x="244" y="3735"/>
                    <a:pt x="101" y="3592"/>
                  </a:cubicBezTo>
                  <a:cubicBezTo>
                    <a:pt x="54" y="3545"/>
                    <a:pt x="30" y="3485"/>
                    <a:pt x="30" y="3432"/>
                  </a:cubicBezTo>
                  <a:cubicBezTo>
                    <a:pt x="30" y="3301"/>
                    <a:pt x="143" y="3176"/>
                    <a:pt x="244" y="3170"/>
                  </a:cubicBezTo>
                  <a:cubicBezTo>
                    <a:pt x="333" y="3170"/>
                    <a:pt x="470" y="3200"/>
                    <a:pt x="601" y="3200"/>
                  </a:cubicBezTo>
                  <a:cubicBezTo>
                    <a:pt x="672" y="3200"/>
                    <a:pt x="744" y="3194"/>
                    <a:pt x="803" y="3164"/>
                  </a:cubicBezTo>
                  <a:cubicBezTo>
                    <a:pt x="863" y="3146"/>
                    <a:pt x="904" y="3134"/>
                    <a:pt x="945" y="3134"/>
                  </a:cubicBezTo>
                  <a:cubicBezTo>
                    <a:pt x="1028" y="3134"/>
                    <a:pt x="1093" y="3164"/>
                    <a:pt x="1230" y="3164"/>
                  </a:cubicBezTo>
                  <a:cubicBezTo>
                    <a:pt x="1367" y="3164"/>
                    <a:pt x="1385" y="3051"/>
                    <a:pt x="1385" y="2950"/>
                  </a:cubicBezTo>
                  <a:lnTo>
                    <a:pt x="1385" y="2837"/>
                  </a:lnTo>
                  <a:cubicBezTo>
                    <a:pt x="1385" y="2760"/>
                    <a:pt x="1438" y="2700"/>
                    <a:pt x="1438" y="2700"/>
                  </a:cubicBezTo>
                  <a:cubicBezTo>
                    <a:pt x="1444" y="2694"/>
                    <a:pt x="1444" y="2694"/>
                    <a:pt x="1444" y="2694"/>
                  </a:cubicBezTo>
                  <a:cubicBezTo>
                    <a:pt x="1611" y="2694"/>
                    <a:pt x="1741" y="2653"/>
                    <a:pt x="1831" y="2605"/>
                  </a:cubicBezTo>
                  <a:cubicBezTo>
                    <a:pt x="1926" y="2558"/>
                    <a:pt x="1973" y="2492"/>
                    <a:pt x="1973" y="2462"/>
                  </a:cubicBezTo>
                  <a:cubicBezTo>
                    <a:pt x="1973" y="2385"/>
                    <a:pt x="2068" y="2367"/>
                    <a:pt x="2211" y="2332"/>
                  </a:cubicBezTo>
                  <a:cubicBezTo>
                    <a:pt x="2276" y="2320"/>
                    <a:pt x="2354" y="2219"/>
                    <a:pt x="2407" y="2118"/>
                  </a:cubicBezTo>
                  <a:cubicBezTo>
                    <a:pt x="2461" y="2034"/>
                    <a:pt x="2497" y="1957"/>
                    <a:pt x="2508" y="1933"/>
                  </a:cubicBezTo>
                  <a:cubicBezTo>
                    <a:pt x="2384" y="1892"/>
                    <a:pt x="2366" y="1785"/>
                    <a:pt x="2366" y="1719"/>
                  </a:cubicBezTo>
                  <a:lnTo>
                    <a:pt x="2366" y="1672"/>
                  </a:lnTo>
                  <a:cubicBezTo>
                    <a:pt x="2271" y="1660"/>
                    <a:pt x="2068" y="1476"/>
                    <a:pt x="2068" y="1238"/>
                  </a:cubicBezTo>
                  <a:cubicBezTo>
                    <a:pt x="2068" y="1000"/>
                    <a:pt x="1955" y="703"/>
                    <a:pt x="1896" y="637"/>
                  </a:cubicBezTo>
                  <a:cubicBezTo>
                    <a:pt x="1878" y="625"/>
                    <a:pt x="1860" y="608"/>
                    <a:pt x="1842" y="578"/>
                  </a:cubicBezTo>
                  <a:lnTo>
                    <a:pt x="1842" y="572"/>
                  </a:lnTo>
                  <a:cubicBezTo>
                    <a:pt x="1872" y="501"/>
                    <a:pt x="1920" y="406"/>
                    <a:pt x="1961" y="334"/>
                  </a:cubicBezTo>
                  <a:cubicBezTo>
                    <a:pt x="2003" y="257"/>
                    <a:pt x="2045" y="203"/>
                    <a:pt x="2080" y="203"/>
                  </a:cubicBezTo>
                  <a:cubicBezTo>
                    <a:pt x="2128" y="203"/>
                    <a:pt x="2187" y="180"/>
                    <a:pt x="2235" y="150"/>
                  </a:cubicBezTo>
                  <a:cubicBezTo>
                    <a:pt x="2282" y="120"/>
                    <a:pt x="2318" y="73"/>
                    <a:pt x="2318" y="25"/>
                  </a:cubicBezTo>
                  <a:cubicBezTo>
                    <a:pt x="2318" y="13"/>
                    <a:pt x="2318" y="7"/>
                    <a:pt x="2324" y="1"/>
                  </a:cubicBezTo>
                  <a:cubicBezTo>
                    <a:pt x="2325" y="1"/>
                    <a:pt x="2325" y="1"/>
                    <a:pt x="2325" y="0"/>
                  </a:cubicBezTo>
                  <a:lnTo>
                    <a:pt x="2376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" name="Freeform 484"/>
            <p:cNvSpPr>
              <a:spLocks noChangeArrowheads="1"/>
            </p:cNvSpPr>
            <p:nvPr/>
          </p:nvSpPr>
          <p:spPr bwMode="auto">
            <a:xfrm>
              <a:off x="19959544" y="10924977"/>
              <a:ext cx="797096" cy="1714318"/>
            </a:xfrm>
            <a:custGeom>
              <a:avLst/>
              <a:gdLst>
                <a:gd name="T0" fmla="*/ 1113 w 1553"/>
                <a:gd name="T1" fmla="*/ 3303 h 3336"/>
                <a:gd name="T2" fmla="*/ 1113 w 1553"/>
                <a:gd name="T3" fmla="*/ 3303 h 3336"/>
                <a:gd name="T4" fmla="*/ 1203 w 1553"/>
                <a:gd name="T5" fmla="*/ 3010 h 3336"/>
                <a:gd name="T6" fmla="*/ 1253 w 1553"/>
                <a:gd name="T7" fmla="*/ 2959 h 3336"/>
                <a:gd name="T8" fmla="*/ 1304 w 1553"/>
                <a:gd name="T9" fmla="*/ 2876 h 3336"/>
                <a:gd name="T10" fmla="*/ 1285 w 1553"/>
                <a:gd name="T11" fmla="*/ 2813 h 3336"/>
                <a:gd name="T12" fmla="*/ 1234 w 1553"/>
                <a:gd name="T13" fmla="*/ 2768 h 3336"/>
                <a:gd name="T14" fmla="*/ 1317 w 1553"/>
                <a:gd name="T15" fmla="*/ 2692 h 3336"/>
                <a:gd name="T16" fmla="*/ 1349 w 1553"/>
                <a:gd name="T17" fmla="*/ 2590 h 3336"/>
                <a:gd name="T18" fmla="*/ 1387 w 1553"/>
                <a:gd name="T19" fmla="*/ 2494 h 3336"/>
                <a:gd name="T20" fmla="*/ 1502 w 1553"/>
                <a:gd name="T21" fmla="*/ 1801 h 3336"/>
                <a:gd name="T22" fmla="*/ 1502 w 1553"/>
                <a:gd name="T23" fmla="*/ 1744 h 3336"/>
                <a:gd name="T24" fmla="*/ 1533 w 1553"/>
                <a:gd name="T25" fmla="*/ 1616 h 3336"/>
                <a:gd name="T26" fmla="*/ 1489 w 1553"/>
                <a:gd name="T27" fmla="*/ 1387 h 3336"/>
                <a:gd name="T28" fmla="*/ 1489 w 1553"/>
                <a:gd name="T29" fmla="*/ 1247 h 3336"/>
                <a:gd name="T30" fmla="*/ 1451 w 1553"/>
                <a:gd name="T31" fmla="*/ 1088 h 3336"/>
                <a:gd name="T32" fmla="*/ 1406 w 1553"/>
                <a:gd name="T33" fmla="*/ 974 h 3336"/>
                <a:gd name="T34" fmla="*/ 1368 w 1553"/>
                <a:gd name="T35" fmla="*/ 814 h 3336"/>
                <a:gd name="T36" fmla="*/ 1304 w 1553"/>
                <a:gd name="T37" fmla="*/ 865 h 3336"/>
                <a:gd name="T38" fmla="*/ 1285 w 1553"/>
                <a:gd name="T39" fmla="*/ 662 h 3336"/>
                <a:gd name="T40" fmla="*/ 1304 w 1553"/>
                <a:gd name="T41" fmla="*/ 375 h 3336"/>
                <a:gd name="T42" fmla="*/ 1234 w 1553"/>
                <a:gd name="T43" fmla="*/ 121 h 3336"/>
                <a:gd name="T44" fmla="*/ 1177 w 1553"/>
                <a:gd name="T45" fmla="*/ 0 h 3336"/>
                <a:gd name="T46" fmla="*/ 1056 w 1553"/>
                <a:gd name="T47" fmla="*/ 51 h 3336"/>
                <a:gd name="T48" fmla="*/ 1094 w 1553"/>
                <a:gd name="T49" fmla="*/ 191 h 3336"/>
                <a:gd name="T50" fmla="*/ 1043 w 1553"/>
                <a:gd name="T51" fmla="*/ 248 h 3336"/>
                <a:gd name="T52" fmla="*/ 1062 w 1553"/>
                <a:gd name="T53" fmla="*/ 452 h 3336"/>
                <a:gd name="T54" fmla="*/ 1069 w 1553"/>
                <a:gd name="T55" fmla="*/ 655 h 3336"/>
                <a:gd name="T56" fmla="*/ 935 w 1553"/>
                <a:gd name="T57" fmla="*/ 592 h 3336"/>
                <a:gd name="T58" fmla="*/ 865 w 1553"/>
                <a:gd name="T59" fmla="*/ 662 h 3336"/>
                <a:gd name="T60" fmla="*/ 782 w 1553"/>
                <a:gd name="T61" fmla="*/ 611 h 3336"/>
                <a:gd name="T62" fmla="*/ 681 w 1553"/>
                <a:gd name="T63" fmla="*/ 776 h 3336"/>
                <a:gd name="T64" fmla="*/ 413 w 1553"/>
                <a:gd name="T65" fmla="*/ 904 h 3336"/>
                <a:gd name="T66" fmla="*/ 299 w 1553"/>
                <a:gd name="T67" fmla="*/ 929 h 3336"/>
                <a:gd name="T68" fmla="*/ 280 w 1553"/>
                <a:gd name="T69" fmla="*/ 1012 h 3336"/>
                <a:gd name="T70" fmla="*/ 210 w 1553"/>
                <a:gd name="T71" fmla="*/ 980 h 3336"/>
                <a:gd name="T72" fmla="*/ 203 w 1553"/>
                <a:gd name="T73" fmla="*/ 1075 h 3336"/>
                <a:gd name="T74" fmla="*/ 120 w 1553"/>
                <a:gd name="T75" fmla="*/ 1305 h 3336"/>
                <a:gd name="T76" fmla="*/ 0 w 1553"/>
                <a:gd name="T77" fmla="*/ 1457 h 3336"/>
                <a:gd name="T78" fmla="*/ 178 w 1553"/>
                <a:gd name="T79" fmla="*/ 1585 h 3336"/>
                <a:gd name="T80" fmla="*/ 25 w 1553"/>
                <a:gd name="T81" fmla="*/ 1661 h 3336"/>
                <a:gd name="T82" fmla="*/ 57 w 1553"/>
                <a:gd name="T83" fmla="*/ 1731 h 3336"/>
                <a:gd name="T84" fmla="*/ 146 w 1553"/>
                <a:gd name="T85" fmla="*/ 1864 h 3336"/>
                <a:gd name="T86" fmla="*/ 292 w 1553"/>
                <a:gd name="T87" fmla="*/ 1960 h 3336"/>
                <a:gd name="T88" fmla="*/ 140 w 1553"/>
                <a:gd name="T89" fmla="*/ 2310 h 3336"/>
                <a:gd name="T90" fmla="*/ 241 w 1553"/>
                <a:gd name="T91" fmla="*/ 2285 h 3336"/>
                <a:gd name="T92" fmla="*/ 337 w 1553"/>
                <a:gd name="T93" fmla="*/ 2297 h 3336"/>
                <a:gd name="T94" fmla="*/ 394 w 1553"/>
                <a:gd name="T95" fmla="*/ 2444 h 3336"/>
                <a:gd name="T96" fmla="*/ 305 w 1553"/>
                <a:gd name="T97" fmla="*/ 2666 h 3336"/>
                <a:gd name="T98" fmla="*/ 388 w 1553"/>
                <a:gd name="T99" fmla="*/ 2666 h 3336"/>
                <a:gd name="T100" fmla="*/ 604 w 1553"/>
                <a:gd name="T101" fmla="*/ 2692 h 3336"/>
                <a:gd name="T102" fmla="*/ 432 w 1553"/>
                <a:gd name="T103" fmla="*/ 2940 h 3336"/>
                <a:gd name="T104" fmla="*/ 483 w 1553"/>
                <a:gd name="T105" fmla="*/ 2991 h 3336"/>
                <a:gd name="T106" fmla="*/ 566 w 1553"/>
                <a:gd name="T107" fmla="*/ 3074 h 3336"/>
                <a:gd name="T108" fmla="*/ 751 w 1553"/>
                <a:gd name="T109" fmla="*/ 3137 h 3336"/>
                <a:gd name="T110" fmla="*/ 891 w 1553"/>
                <a:gd name="T111" fmla="*/ 3163 h 3336"/>
                <a:gd name="T112" fmla="*/ 1113 w 1553"/>
                <a:gd name="T113" fmla="*/ 3303 h 3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53" h="3336">
                  <a:moveTo>
                    <a:pt x="1113" y="3303"/>
                  </a:moveTo>
                  <a:lnTo>
                    <a:pt x="1113" y="3303"/>
                  </a:lnTo>
                  <a:cubicBezTo>
                    <a:pt x="1113" y="3303"/>
                    <a:pt x="1221" y="3303"/>
                    <a:pt x="1203" y="3010"/>
                  </a:cubicBezTo>
                  <a:cubicBezTo>
                    <a:pt x="1203" y="3010"/>
                    <a:pt x="1203" y="2972"/>
                    <a:pt x="1253" y="2959"/>
                  </a:cubicBezTo>
                  <a:cubicBezTo>
                    <a:pt x="1304" y="2946"/>
                    <a:pt x="1279" y="2902"/>
                    <a:pt x="1304" y="2876"/>
                  </a:cubicBezTo>
                  <a:cubicBezTo>
                    <a:pt x="1323" y="2857"/>
                    <a:pt x="1304" y="2838"/>
                    <a:pt x="1285" y="2813"/>
                  </a:cubicBezTo>
                  <a:cubicBezTo>
                    <a:pt x="1260" y="2794"/>
                    <a:pt x="1215" y="2794"/>
                    <a:pt x="1234" y="2768"/>
                  </a:cubicBezTo>
                  <a:cubicBezTo>
                    <a:pt x="1260" y="2749"/>
                    <a:pt x="1285" y="2724"/>
                    <a:pt x="1317" y="2692"/>
                  </a:cubicBezTo>
                  <a:cubicBezTo>
                    <a:pt x="1349" y="2660"/>
                    <a:pt x="1323" y="2609"/>
                    <a:pt x="1349" y="2590"/>
                  </a:cubicBezTo>
                  <a:cubicBezTo>
                    <a:pt x="1374" y="2565"/>
                    <a:pt x="1406" y="2539"/>
                    <a:pt x="1387" y="2494"/>
                  </a:cubicBezTo>
                  <a:cubicBezTo>
                    <a:pt x="1374" y="2450"/>
                    <a:pt x="1190" y="2202"/>
                    <a:pt x="1502" y="1801"/>
                  </a:cubicBezTo>
                  <a:cubicBezTo>
                    <a:pt x="1502" y="1801"/>
                    <a:pt x="1533" y="1775"/>
                    <a:pt x="1502" y="1744"/>
                  </a:cubicBezTo>
                  <a:cubicBezTo>
                    <a:pt x="1476" y="1718"/>
                    <a:pt x="1521" y="1635"/>
                    <a:pt x="1533" y="1616"/>
                  </a:cubicBezTo>
                  <a:cubicBezTo>
                    <a:pt x="1552" y="1603"/>
                    <a:pt x="1508" y="1438"/>
                    <a:pt x="1489" y="1387"/>
                  </a:cubicBezTo>
                  <a:cubicBezTo>
                    <a:pt x="1470" y="1336"/>
                    <a:pt x="1489" y="1273"/>
                    <a:pt x="1489" y="1247"/>
                  </a:cubicBezTo>
                  <a:cubicBezTo>
                    <a:pt x="1489" y="1228"/>
                    <a:pt x="1413" y="1209"/>
                    <a:pt x="1451" y="1088"/>
                  </a:cubicBezTo>
                  <a:cubicBezTo>
                    <a:pt x="1451" y="1088"/>
                    <a:pt x="1438" y="999"/>
                    <a:pt x="1406" y="974"/>
                  </a:cubicBezTo>
                  <a:cubicBezTo>
                    <a:pt x="1381" y="942"/>
                    <a:pt x="1432" y="827"/>
                    <a:pt x="1368" y="814"/>
                  </a:cubicBezTo>
                  <a:cubicBezTo>
                    <a:pt x="1304" y="795"/>
                    <a:pt x="1362" y="872"/>
                    <a:pt x="1304" y="865"/>
                  </a:cubicBezTo>
                  <a:cubicBezTo>
                    <a:pt x="1247" y="853"/>
                    <a:pt x="1266" y="706"/>
                    <a:pt x="1285" y="662"/>
                  </a:cubicBezTo>
                  <a:cubicBezTo>
                    <a:pt x="1304" y="611"/>
                    <a:pt x="1349" y="471"/>
                    <a:pt x="1304" y="375"/>
                  </a:cubicBezTo>
                  <a:cubicBezTo>
                    <a:pt x="1266" y="286"/>
                    <a:pt x="1266" y="178"/>
                    <a:pt x="1234" y="121"/>
                  </a:cubicBezTo>
                  <a:cubicBezTo>
                    <a:pt x="1203" y="63"/>
                    <a:pt x="1247" y="13"/>
                    <a:pt x="1177" y="0"/>
                  </a:cubicBezTo>
                  <a:cubicBezTo>
                    <a:pt x="1177" y="0"/>
                    <a:pt x="1056" y="13"/>
                    <a:pt x="1056" y="51"/>
                  </a:cubicBezTo>
                  <a:cubicBezTo>
                    <a:pt x="1056" y="89"/>
                    <a:pt x="1094" y="152"/>
                    <a:pt x="1094" y="191"/>
                  </a:cubicBezTo>
                  <a:cubicBezTo>
                    <a:pt x="1094" y="229"/>
                    <a:pt x="1043" y="216"/>
                    <a:pt x="1043" y="248"/>
                  </a:cubicBezTo>
                  <a:cubicBezTo>
                    <a:pt x="1043" y="280"/>
                    <a:pt x="1037" y="426"/>
                    <a:pt x="1062" y="452"/>
                  </a:cubicBezTo>
                  <a:cubicBezTo>
                    <a:pt x="1088" y="477"/>
                    <a:pt x="1139" y="636"/>
                    <a:pt x="1069" y="655"/>
                  </a:cubicBezTo>
                  <a:cubicBezTo>
                    <a:pt x="992" y="681"/>
                    <a:pt x="973" y="592"/>
                    <a:pt x="935" y="592"/>
                  </a:cubicBezTo>
                  <a:cubicBezTo>
                    <a:pt x="891" y="592"/>
                    <a:pt x="891" y="662"/>
                    <a:pt x="865" y="662"/>
                  </a:cubicBezTo>
                  <a:cubicBezTo>
                    <a:pt x="840" y="662"/>
                    <a:pt x="821" y="611"/>
                    <a:pt x="782" y="611"/>
                  </a:cubicBezTo>
                  <a:cubicBezTo>
                    <a:pt x="751" y="611"/>
                    <a:pt x="681" y="712"/>
                    <a:pt x="681" y="776"/>
                  </a:cubicBezTo>
                  <a:cubicBezTo>
                    <a:pt x="681" y="833"/>
                    <a:pt x="521" y="763"/>
                    <a:pt x="413" y="904"/>
                  </a:cubicBezTo>
                  <a:cubicBezTo>
                    <a:pt x="413" y="904"/>
                    <a:pt x="324" y="904"/>
                    <a:pt x="299" y="929"/>
                  </a:cubicBezTo>
                  <a:cubicBezTo>
                    <a:pt x="280" y="948"/>
                    <a:pt x="312" y="1012"/>
                    <a:pt x="280" y="1012"/>
                  </a:cubicBezTo>
                  <a:cubicBezTo>
                    <a:pt x="241" y="1012"/>
                    <a:pt x="241" y="954"/>
                    <a:pt x="210" y="980"/>
                  </a:cubicBezTo>
                  <a:cubicBezTo>
                    <a:pt x="184" y="1012"/>
                    <a:pt x="222" y="1056"/>
                    <a:pt x="203" y="1075"/>
                  </a:cubicBezTo>
                  <a:cubicBezTo>
                    <a:pt x="184" y="1101"/>
                    <a:pt x="101" y="1113"/>
                    <a:pt x="120" y="1305"/>
                  </a:cubicBezTo>
                  <a:cubicBezTo>
                    <a:pt x="120" y="1305"/>
                    <a:pt x="0" y="1387"/>
                    <a:pt x="0" y="1457"/>
                  </a:cubicBezTo>
                  <a:cubicBezTo>
                    <a:pt x="0" y="1521"/>
                    <a:pt x="178" y="1527"/>
                    <a:pt x="178" y="1585"/>
                  </a:cubicBezTo>
                  <a:cubicBezTo>
                    <a:pt x="178" y="1642"/>
                    <a:pt x="25" y="1597"/>
                    <a:pt x="25" y="1661"/>
                  </a:cubicBezTo>
                  <a:cubicBezTo>
                    <a:pt x="25" y="1731"/>
                    <a:pt x="57" y="1674"/>
                    <a:pt x="57" y="1731"/>
                  </a:cubicBezTo>
                  <a:cubicBezTo>
                    <a:pt x="57" y="1782"/>
                    <a:pt x="50" y="1864"/>
                    <a:pt x="146" y="1864"/>
                  </a:cubicBezTo>
                  <a:cubicBezTo>
                    <a:pt x="241" y="1864"/>
                    <a:pt x="292" y="1915"/>
                    <a:pt x="292" y="1960"/>
                  </a:cubicBezTo>
                  <a:cubicBezTo>
                    <a:pt x="292" y="2004"/>
                    <a:pt x="50" y="2189"/>
                    <a:pt x="140" y="2310"/>
                  </a:cubicBezTo>
                  <a:cubicBezTo>
                    <a:pt x="140" y="2310"/>
                    <a:pt x="197" y="2329"/>
                    <a:pt x="241" y="2285"/>
                  </a:cubicBezTo>
                  <a:cubicBezTo>
                    <a:pt x="280" y="2240"/>
                    <a:pt x="280" y="2355"/>
                    <a:pt x="337" y="2297"/>
                  </a:cubicBezTo>
                  <a:cubicBezTo>
                    <a:pt x="394" y="2240"/>
                    <a:pt x="464" y="2367"/>
                    <a:pt x="394" y="2444"/>
                  </a:cubicBezTo>
                  <a:cubicBezTo>
                    <a:pt x="324" y="2514"/>
                    <a:pt x="254" y="2641"/>
                    <a:pt x="305" y="2666"/>
                  </a:cubicBezTo>
                  <a:cubicBezTo>
                    <a:pt x="362" y="2692"/>
                    <a:pt x="343" y="2635"/>
                    <a:pt x="388" y="2666"/>
                  </a:cubicBezTo>
                  <a:cubicBezTo>
                    <a:pt x="432" y="2692"/>
                    <a:pt x="579" y="2635"/>
                    <a:pt x="604" y="2692"/>
                  </a:cubicBezTo>
                  <a:cubicBezTo>
                    <a:pt x="630" y="2743"/>
                    <a:pt x="388" y="2800"/>
                    <a:pt x="432" y="2940"/>
                  </a:cubicBezTo>
                  <a:cubicBezTo>
                    <a:pt x="432" y="2940"/>
                    <a:pt x="458" y="2966"/>
                    <a:pt x="483" y="2991"/>
                  </a:cubicBezTo>
                  <a:cubicBezTo>
                    <a:pt x="509" y="3010"/>
                    <a:pt x="534" y="3074"/>
                    <a:pt x="566" y="3074"/>
                  </a:cubicBezTo>
                  <a:cubicBezTo>
                    <a:pt x="598" y="3074"/>
                    <a:pt x="693" y="3105"/>
                    <a:pt x="751" y="3137"/>
                  </a:cubicBezTo>
                  <a:cubicBezTo>
                    <a:pt x="808" y="3163"/>
                    <a:pt x="852" y="3125"/>
                    <a:pt x="891" y="3163"/>
                  </a:cubicBezTo>
                  <a:cubicBezTo>
                    <a:pt x="929" y="3201"/>
                    <a:pt x="961" y="3335"/>
                    <a:pt x="1113" y="330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" name="Freeform 485"/>
            <p:cNvSpPr>
              <a:spLocks noChangeArrowheads="1"/>
            </p:cNvSpPr>
            <p:nvPr/>
          </p:nvSpPr>
          <p:spPr bwMode="auto">
            <a:xfrm>
              <a:off x="15172446" y="2878775"/>
              <a:ext cx="1827432" cy="1157222"/>
            </a:xfrm>
            <a:custGeom>
              <a:avLst/>
              <a:gdLst>
                <a:gd name="T0" fmla="*/ 382 w 3557"/>
                <a:gd name="T1" fmla="*/ 1623 h 2254"/>
                <a:gd name="T2" fmla="*/ 382 w 3557"/>
                <a:gd name="T3" fmla="*/ 1623 h 2254"/>
                <a:gd name="T4" fmla="*/ 1024 w 3557"/>
                <a:gd name="T5" fmla="*/ 1928 h 2254"/>
                <a:gd name="T6" fmla="*/ 2048 w 3557"/>
                <a:gd name="T7" fmla="*/ 2253 h 2254"/>
                <a:gd name="T8" fmla="*/ 3493 w 3557"/>
                <a:gd name="T9" fmla="*/ 2227 h 2254"/>
                <a:gd name="T10" fmla="*/ 3512 w 3557"/>
                <a:gd name="T11" fmla="*/ 2170 h 2254"/>
                <a:gd name="T12" fmla="*/ 3416 w 3557"/>
                <a:gd name="T13" fmla="*/ 1935 h 2254"/>
                <a:gd name="T14" fmla="*/ 3493 w 3557"/>
                <a:gd name="T15" fmla="*/ 1776 h 2254"/>
                <a:gd name="T16" fmla="*/ 3085 w 3557"/>
                <a:gd name="T17" fmla="*/ 1604 h 2254"/>
                <a:gd name="T18" fmla="*/ 2875 w 3557"/>
                <a:gd name="T19" fmla="*/ 1591 h 2254"/>
                <a:gd name="T20" fmla="*/ 2595 w 3557"/>
                <a:gd name="T21" fmla="*/ 1203 h 2254"/>
                <a:gd name="T22" fmla="*/ 2271 w 3557"/>
                <a:gd name="T23" fmla="*/ 1005 h 2254"/>
                <a:gd name="T24" fmla="*/ 2182 w 3557"/>
                <a:gd name="T25" fmla="*/ 719 h 2254"/>
                <a:gd name="T26" fmla="*/ 1743 w 3557"/>
                <a:gd name="T27" fmla="*/ 802 h 2254"/>
                <a:gd name="T28" fmla="*/ 1571 w 3557"/>
                <a:gd name="T29" fmla="*/ 623 h 2254"/>
                <a:gd name="T30" fmla="*/ 1399 w 3557"/>
                <a:gd name="T31" fmla="*/ 534 h 2254"/>
                <a:gd name="T32" fmla="*/ 1316 w 3557"/>
                <a:gd name="T33" fmla="*/ 32 h 2254"/>
                <a:gd name="T34" fmla="*/ 738 w 3557"/>
                <a:gd name="T35" fmla="*/ 159 h 2254"/>
                <a:gd name="T36" fmla="*/ 121 w 3557"/>
                <a:gd name="T37" fmla="*/ 452 h 2254"/>
                <a:gd name="T38" fmla="*/ 76 w 3557"/>
                <a:gd name="T39" fmla="*/ 1553 h 2254"/>
                <a:gd name="T40" fmla="*/ 382 w 3557"/>
                <a:gd name="T41" fmla="*/ 1623 h 2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57" h="2254">
                  <a:moveTo>
                    <a:pt x="382" y="1623"/>
                  </a:moveTo>
                  <a:lnTo>
                    <a:pt x="382" y="1623"/>
                  </a:lnTo>
                  <a:cubicBezTo>
                    <a:pt x="611" y="1756"/>
                    <a:pt x="929" y="1928"/>
                    <a:pt x="1024" y="1928"/>
                  </a:cubicBezTo>
                  <a:cubicBezTo>
                    <a:pt x="1119" y="1928"/>
                    <a:pt x="1692" y="2253"/>
                    <a:pt x="2048" y="2253"/>
                  </a:cubicBezTo>
                  <a:cubicBezTo>
                    <a:pt x="2385" y="2253"/>
                    <a:pt x="2863" y="2056"/>
                    <a:pt x="3493" y="2227"/>
                  </a:cubicBezTo>
                  <a:cubicBezTo>
                    <a:pt x="3499" y="2208"/>
                    <a:pt x="3506" y="2189"/>
                    <a:pt x="3512" y="2170"/>
                  </a:cubicBezTo>
                  <a:cubicBezTo>
                    <a:pt x="3556" y="2017"/>
                    <a:pt x="3416" y="1935"/>
                    <a:pt x="3416" y="1935"/>
                  </a:cubicBezTo>
                  <a:cubicBezTo>
                    <a:pt x="3499" y="1858"/>
                    <a:pt x="3493" y="1776"/>
                    <a:pt x="3493" y="1776"/>
                  </a:cubicBezTo>
                  <a:cubicBezTo>
                    <a:pt x="3397" y="1496"/>
                    <a:pt x="3085" y="1604"/>
                    <a:pt x="3085" y="1604"/>
                  </a:cubicBezTo>
                  <a:cubicBezTo>
                    <a:pt x="3085" y="1604"/>
                    <a:pt x="2990" y="1553"/>
                    <a:pt x="2875" y="1591"/>
                  </a:cubicBezTo>
                  <a:cubicBezTo>
                    <a:pt x="2754" y="1629"/>
                    <a:pt x="2805" y="1114"/>
                    <a:pt x="2595" y="1203"/>
                  </a:cubicBezTo>
                  <a:cubicBezTo>
                    <a:pt x="2385" y="1292"/>
                    <a:pt x="2271" y="1196"/>
                    <a:pt x="2271" y="1005"/>
                  </a:cubicBezTo>
                  <a:cubicBezTo>
                    <a:pt x="2271" y="814"/>
                    <a:pt x="2182" y="719"/>
                    <a:pt x="2182" y="719"/>
                  </a:cubicBezTo>
                  <a:cubicBezTo>
                    <a:pt x="2080" y="617"/>
                    <a:pt x="1794" y="757"/>
                    <a:pt x="1743" y="802"/>
                  </a:cubicBezTo>
                  <a:cubicBezTo>
                    <a:pt x="1717" y="827"/>
                    <a:pt x="1653" y="687"/>
                    <a:pt x="1571" y="623"/>
                  </a:cubicBezTo>
                  <a:cubicBezTo>
                    <a:pt x="1494" y="566"/>
                    <a:pt x="1399" y="592"/>
                    <a:pt x="1399" y="534"/>
                  </a:cubicBezTo>
                  <a:cubicBezTo>
                    <a:pt x="1399" y="197"/>
                    <a:pt x="1316" y="32"/>
                    <a:pt x="1316" y="32"/>
                  </a:cubicBezTo>
                  <a:cubicBezTo>
                    <a:pt x="1284" y="0"/>
                    <a:pt x="1012" y="32"/>
                    <a:pt x="738" y="159"/>
                  </a:cubicBezTo>
                  <a:cubicBezTo>
                    <a:pt x="490" y="267"/>
                    <a:pt x="210" y="229"/>
                    <a:pt x="121" y="452"/>
                  </a:cubicBezTo>
                  <a:cubicBezTo>
                    <a:pt x="0" y="770"/>
                    <a:pt x="44" y="1273"/>
                    <a:pt x="76" y="1553"/>
                  </a:cubicBezTo>
                  <a:cubicBezTo>
                    <a:pt x="133" y="1540"/>
                    <a:pt x="242" y="1540"/>
                    <a:pt x="382" y="16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" name="Freeform 486"/>
            <p:cNvSpPr>
              <a:spLocks noChangeArrowheads="1"/>
            </p:cNvSpPr>
            <p:nvPr/>
          </p:nvSpPr>
          <p:spPr bwMode="auto">
            <a:xfrm>
              <a:off x="15050165" y="3669127"/>
              <a:ext cx="1940655" cy="1555794"/>
            </a:xfrm>
            <a:custGeom>
              <a:avLst/>
              <a:gdLst>
                <a:gd name="T0" fmla="*/ 465 w 3781"/>
                <a:gd name="T1" fmla="*/ 1254 h 3030"/>
                <a:gd name="T2" fmla="*/ 465 w 3781"/>
                <a:gd name="T3" fmla="*/ 1254 h 3030"/>
                <a:gd name="T4" fmla="*/ 388 w 3781"/>
                <a:gd name="T5" fmla="*/ 1610 h 3030"/>
                <a:gd name="T6" fmla="*/ 465 w 3781"/>
                <a:gd name="T7" fmla="*/ 2087 h 3030"/>
                <a:gd name="T8" fmla="*/ 758 w 3781"/>
                <a:gd name="T9" fmla="*/ 2380 h 3030"/>
                <a:gd name="T10" fmla="*/ 1457 w 3781"/>
                <a:gd name="T11" fmla="*/ 2514 h 3030"/>
                <a:gd name="T12" fmla="*/ 2246 w 3781"/>
                <a:gd name="T13" fmla="*/ 2533 h 3030"/>
                <a:gd name="T14" fmla="*/ 2742 w 3781"/>
                <a:gd name="T15" fmla="*/ 3029 h 3030"/>
                <a:gd name="T16" fmla="*/ 3048 w 3781"/>
                <a:gd name="T17" fmla="*/ 2291 h 3030"/>
                <a:gd name="T18" fmla="*/ 3041 w 3781"/>
                <a:gd name="T19" fmla="*/ 2036 h 3030"/>
                <a:gd name="T20" fmla="*/ 3487 w 3781"/>
                <a:gd name="T21" fmla="*/ 1871 h 3030"/>
                <a:gd name="T22" fmla="*/ 3481 w 3781"/>
                <a:gd name="T23" fmla="*/ 1476 h 3030"/>
                <a:gd name="T24" fmla="*/ 3780 w 3781"/>
                <a:gd name="T25" fmla="*/ 808 h 3030"/>
                <a:gd name="T26" fmla="*/ 3729 w 3781"/>
                <a:gd name="T27" fmla="*/ 687 h 3030"/>
                <a:gd name="T28" fmla="*/ 2284 w 3781"/>
                <a:gd name="T29" fmla="*/ 713 h 3030"/>
                <a:gd name="T30" fmla="*/ 1260 w 3781"/>
                <a:gd name="T31" fmla="*/ 388 h 3030"/>
                <a:gd name="T32" fmla="*/ 618 w 3781"/>
                <a:gd name="T33" fmla="*/ 83 h 3030"/>
                <a:gd name="T34" fmla="*/ 312 w 3781"/>
                <a:gd name="T35" fmla="*/ 13 h 3030"/>
                <a:gd name="T36" fmla="*/ 318 w 3781"/>
                <a:gd name="T37" fmla="*/ 210 h 3030"/>
                <a:gd name="T38" fmla="*/ 217 w 3781"/>
                <a:gd name="T39" fmla="*/ 185 h 3030"/>
                <a:gd name="T40" fmla="*/ 0 w 3781"/>
                <a:gd name="T41" fmla="*/ 547 h 3030"/>
                <a:gd name="T42" fmla="*/ 465 w 3781"/>
                <a:gd name="T43" fmla="*/ 1254 h 3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81" h="3030">
                  <a:moveTo>
                    <a:pt x="465" y="1254"/>
                  </a:moveTo>
                  <a:lnTo>
                    <a:pt x="465" y="1254"/>
                  </a:lnTo>
                  <a:cubicBezTo>
                    <a:pt x="388" y="1337"/>
                    <a:pt x="306" y="1527"/>
                    <a:pt x="388" y="1610"/>
                  </a:cubicBezTo>
                  <a:cubicBezTo>
                    <a:pt x="465" y="1687"/>
                    <a:pt x="376" y="1998"/>
                    <a:pt x="465" y="2087"/>
                  </a:cubicBezTo>
                  <a:cubicBezTo>
                    <a:pt x="554" y="2177"/>
                    <a:pt x="325" y="2380"/>
                    <a:pt x="758" y="2380"/>
                  </a:cubicBezTo>
                  <a:cubicBezTo>
                    <a:pt x="1190" y="2380"/>
                    <a:pt x="1431" y="2361"/>
                    <a:pt x="1457" y="2514"/>
                  </a:cubicBezTo>
                  <a:cubicBezTo>
                    <a:pt x="1488" y="2673"/>
                    <a:pt x="2080" y="2533"/>
                    <a:pt x="2246" y="2533"/>
                  </a:cubicBezTo>
                  <a:cubicBezTo>
                    <a:pt x="2246" y="2533"/>
                    <a:pt x="2570" y="3029"/>
                    <a:pt x="2742" y="3029"/>
                  </a:cubicBezTo>
                  <a:cubicBezTo>
                    <a:pt x="2914" y="3029"/>
                    <a:pt x="3092" y="2342"/>
                    <a:pt x="3048" y="2291"/>
                  </a:cubicBezTo>
                  <a:cubicBezTo>
                    <a:pt x="2997" y="2246"/>
                    <a:pt x="2971" y="2107"/>
                    <a:pt x="3041" y="2036"/>
                  </a:cubicBezTo>
                  <a:cubicBezTo>
                    <a:pt x="3105" y="1973"/>
                    <a:pt x="3430" y="1871"/>
                    <a:pt x="3487" y="1871"/>
                  </a:cubicBezTo>
                  <a:cubicBezTo>
                    <a:pt x="3544" y="1871"/>
                    <a:pt x="3684" y="1629"/>
                    <a:pt x="3481" y="1476"/>
                  </a:cubicBezTo>
                  <a:cubicBezTo>
                    <a:pt x="3283" y="1330"/>
                    <a:pt x="3780" y="1356"/>
                    <a:pt x="3780" y="808"/>
                  </a:cubicBezTo>
                  <a:cubicBezTo>
                    <a:pt x="3716" y="789"/>
                    <a:pt x="3716" y="745"/>
                    <a:pt x="3729" y="687"/>
                  </a:cubicBezTo>
                  <a:cubicBezTo>
                    <a:pt x="3099" y="516"/>
                    <a:pt x="2621" y="713"/>
                    <a:pt x="2284" y="713"/>
                  </a:cubicBezTo>
                  <a:cubicBezTo>
                    <a:pt x="1928" y="713"/>
                    <a:pt x="1355" y="388"/>
                    <a:pt x="1260" y="388"/>
                  </a:cubicBezTo>
                  <a:cubicBezTo>
                    <a:pt x="1165" y="388"/>
                    <a:pt x="847" y="216"/>
                    <a:pt x="618" y="83"/>
                  </a:cubicBezTo>
                  <a:cubicBezTo>
                    <a:pt x="478" y="0"/>
                    <a:pt x="369" y="0"/>
                    <a:pt x="312" y="13"/>
                  </a:cubicBezTo>
                  <a:cubicBezTo>
                    <a:pt x="318" y="134"/>
                    <a:pt x="331" y="210"/>
                    <a:pt x="318" y="210"/>
                  </a:cubicBezTo>
                  <a:cubicBezTo>
                    <a:pt x="274" y="210"/>
                    <a:pt x="217" y="185"/>
                    <a:pt x="217" y="185"/>
                  </a:cubicBezTo>
                  <a:cubicBezTo>
                    <a:pt x="166" y="331"/>
                    <a:pt x="89" y="452"/>
                    <a:pt x="0" y="547"/>
                  </a:cubicBezTo>
                  <a:cubicBezTo>
                    <a:pt x="172" y="751"/>
                    <a:pt x="529" y="1196"/>
                    <a:pt x="465" y="125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" name="Freeform 487"/>
            <p:cNvSpPr>
              <a:spLocks noChangeArrowheads="1"/>
            </p:cNvSpPr>
            <p:nvPr/>
          </p:nvSpPr>
          <p:spPr bwMode="auto">
            <a:xfrm>
              <a:off x="14142111" y="3949942"/>
              <a:ext cx="1179790" cy="1408595"/>
            </a:xfrm>
            <a:custGeom>
              <a:avLst/>
              <a:gdLst>
                <a:gd name="T0" fmla="*/ 293 w 2299"/>
                <a:gd name="T1" fmla="*/ 1420 h 2744"/>
                <a:gd name="T2" fmla="*/ 293 w 2299"/>
                <a:gd name="T3" fmla="*/ 1420 h 2744"/>
                <a:gd name="T4" fmla="*/ 452 w 2299"/>
                <a:gd name="T5" fmla="*/ 2164 h 2744"/>
                <a:gd name="T6" fmla="*/ 579 w 2299"/>
                <a:gd name="T7" fmla="*/ 2298 h 2744"/>
                <a:gd name="T8" fmla="*/ 980 w 2299"/>
                <a:gd name="T9" fmla="*/ 2743 h 2744"/>
                <a:gd name="T10" fmla="*/ 1521 w 2299"/>
                <a:gd name="T11" fmla="*/ 2642 h 2744"/>
                <a:gd name="T12" fmla="*/ 1871 w 2299"/>
                <a:gd name="T13" fmla="*/ 2349 h 2744"/>
                <a:gd name="T14" fmla="*/ 2253 w 2299"/>
                <a:gd name="T15" fmla="*/ 1649 h 2744"/>
                <a:gd name="T16" fmla="*/ 2234 w 2299"/>
                <a:gd name="T17" fmla="*/ 1540 h 2744"/>
                <a:gd name="T18" fmla="*/ 2157 w 2299"/>
                <a:gd name="T19" fmla="*/ 1063 h 2744"/>
                <a:gd name="T20" fmla="*/ 2234 w 2299"/>
                <a:gd name="T21" fmla="*/ 707 h 2744"/>
                <a:gd name="T22" fmla="*/ 1769 w 2299"/>
                <a:gd name="T23" fmla="*/ 0 h 2744"/>
                <a:gd name="T24" fmla="*/ 846 w 2299"/>
                <a:gd name="T25" fmla="*/ 344 h 2744"/>
                <a:gd name="T26" fmla="*/ 242 w 2299"/>
                <a:gd name="T27" fmla="*/ 618 h 2744"/>
                <a:gd name="T28" fmla="*/ 25 w 2299"/>
                <a:gd name="T29" fmla="*/ 942 h 2744"/>
                <a:gd name="T30" fmla="*/ 223 w 2299"/>
                <a:gd name="T31" fmla="*/ 1216 h 2744"/>
                <a:gd name="T32" fmla="*/ 140 w 2299"/>
                <a:gd name="T33" fmla="*/ 1241 h 2744"/>
                <a:gd name="T34" fmla="*/ 293 w 2299"/>
                <a:gd name="T35" fmla="*/ 1420 h 2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99" h="2744">
                  <a:moveTo>
                    <a:pt x="293" y="1420"/>
                  </a:moveTo>
                  <a:lnTo>
                    <a:pt x="293" y="1420"/>
                  </a:lnTo>
                  <a:cubicBezTo>
                    <a:pt x="318" y="1566"/>
                    <a:pt x="509" y="2031"/>
                    <a:pt x="452" y="2164"/>
                  </a:cubicBezTo>
                  <a:cubicBezTo>
                    <a:pt x="395" y="2298"/>
                    <a:pt x="458" y="2253"/>
                    <a:pt x="579" y="2298"/>
                  </a:cubicBezTo>
                  <a:cubicBezTo>
                    <a:pt x="700" y="2342"/>
                    <a:pt x="923" y="2743"/>
                    <a:pt x="980" y="2743"/>
                  </a:cubicBezTo>
                  <a:cubicBezTo>
                    <a:pt x="1037" y="2743"/>
                    <a:pt x="1419" y="2616"/>
                    <a:pt x="1521" y="2642"/>
                  </a:cubicBezTo>
                  <a:cubicBezTo>
                    <a:pt x="1623" y="2667"/>
                    <a:pt x="1839" y="2317"/>
                    <a:pt x="1871" y="2349"/>
                  </a:cubicBezTo>
                  <a:cubicBezTo>
                    <a:pt x="1909" y="2387"/>
                    <a:pt x="1636" y="1980"/>
                    <a:pt x="2253" y="1649"/>
                  </a:cubicBezTo>
                  <a:cubicBezTo>
                    <a:pt x="2259" y="1604"/>
                    <a:pt x="2259" y="1566"/>
                    <a:pt x="2234" y="1540"/>
                  </a:cubicBezTo>
                  <a:cubicBezTo>
                    <a:pt x="2145" y="1451"/>
                    <a:pt x="2234" y="1140"/>
                    <a:pt x="2157" y="1063"/>
                  </a:cubicBezTo>
                  <a:cubicBezTo>
                    <a:pt x="2075" y="980"/>
                    <a:pt x="2157" y="790"/>
                    <a:pt x="2234" y="707"/>
                  </a:cubicBezTo>
                  <a:cubicBezTo>
                    <a:pt x="2298" y="649"/>
                    <a:pt x="1941" y="204"/>
                    <a:pt x="1769" y="0"/>
                  </a:cubicBezTo>
                  <a:cubicBezTo>
                    <a:pt x="1432" y="363"/>
                    <a:pt x="897" y="344"/>
                    <a:pt x="846" y="344"/>
                  </a:cubicBezTo>
                  <a:cubicBezTo>
                    <a:pt x="783" y="344"/>
                    <a:pt x="299" y="490"/>
                    <a:pt x="242" y="618"/>
                  </a:cubicBezTo>
                  <a:cubicBezTo>
                    <a:pt x="178" y="751"/>
                    <a:pt x="51" y="777"/>
                    <a:pt x="25" y="942"/>
                  </a:cubicBezTo>
                  <a:cubicBezTo>
                    <a:pt x="0" y="1101"/>
                    <a:pt x="223" y="1216"/>
                    <a:pt x="223" y="1216"/>
                  </a:cubicBezTo>
                  <a:cubicBezTo>
                    <a:pt x="197" y="1216"/>
                    <a:pt x="172" y="1229"/>
                    <a:pt x="140" y="1241"/>
                  </a:cubicBezTo>
                  <a:cubicBezTo>
                    <a:pt x="197" y="1267"/>
                    <a:pt x="280" y="1330"/>
                    <a:pt x="293" y="142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" name="Freeform 488"/>
            <p:cNvSpPr>
              <a:spLocks noChangeArrowheads="1"/>
            </p:cNvSpPr>
            <p:nvPr/>
          </p:nvSpPr>
          <p:spPr bwMode="auto">
            <a:xfrm>
              <a:off x="12756254" y="4205842"/>
              <a:ext cx="2069729" cy="1678085"/>
            </a:xfrm>
            <a:custGeom>
              <a:avLst/>
              <a:gdLst>
                <a:gd name="T0" fmla="*/ 1668 w 4030"/>
                <a:gd name="T1" fmla="*/ 2679 h 3266"/>
                <a:gd name="T2" fmla="*/ 1668 w 4030"/>
                <a:gd name="T3" fmla="*/ 2679 h 3266"/>
                <a:gd name="T4" fmla="*/ 2062 w 4030"/>
                <a:gd name="T5" fmla="*/ 2615 h 3266"/>
                <a:gd name="T6" fmla="*/ 2292 w 4030"/>
                <a:gd name="T7" fmla="*/ 2565 h 3266"/>
                <a:gd name="T8" fmla="*/ 2693 w 4030"/>
                <a:gd name="T9" fmla="*/ 2825 h 3266"/>
                <a:gd name="T10" fmla="*/ 3138 w 4030"/>
                <a:gd name="T11" fmla="*/ 3016 h 3266"/>
                <a:gd name="T12" fmla="*/ 3603 w 4030"/>
                <a:gd name="T13" fmla="*/ 3265 h 3266"/>
                <a:gd name="T14" fmla="*/ 3864 w 4030"/>
                <a:gd name="T15" fmla="*/ 2806 h 3266"/>
                <a:gd name="T16" fmla="*/ 3660 w 4030"/>
                <a:gd name="T17" fmla="*/ 2234 h 3266"/>
                <a:gd name="T18" fmla="*/ 3278 w 4030"/>
                <a:gd name="T19" fmla="*/ 1801 h 3266"/>
                <a:gd name="T20" fmla="*/ 3151 w 4030"/>
                <a:gd name="T21" fmla="*/ 1667 h 3266"/>
                <a:gd name="T22" fmla="*/ 2992 w 4030"/>
                <a:gd name="T23" fmla="*/ 923 h 3266"/>
                <a:gd name="T24" fmla="*/ 2839 w 4030"/>
                <a:gd name="T25" fmla="*/ 744 h 3266"/>
                <a:gd name="T26" fmla="*/ 2616 w 4030"/>
                <a:gd name="T27" fmla="*/ 891 h 3266"/>
                <a:gd name="T28" fmla="*/ 2018 w 4030"/>
                <a:gd name="T29" fmla="*/ 910 h 3266"/>
                <a:gd name="T30" fmla="*/ 1203 w 4030"/>
                <a:gd name="T31" fmla="*/ 757 h 3266"/>
                <a:gd name="T32" fmla="*/ 1044 w 4030"/>
                <a:gd name="T33" fmla="*/ 910 h 3266"/>
                <a:gd name="T34" fmla="*/ 879 w 4030"/>
                <a:gd name="T35" fmla="*/ 490 h 3266"/>
                <a:gd name="T36" fmla="*/ 930 w 4030"/>
                <a:gd name="T37" fmla="*/ 152 h 3266"/>
                <a:gd name="T38" fmla="*/ 478 w 4030"/>
                <a:gd name="T39" fmla="*/ 178 h 3266"/>
                <a:gd name="T40" fmla="*/ 39 w 4030"/>
                <a:gd name="T41" fmla="*/ 25 h 3266"/>
                <a:gd name="T42" fmla="*/ 39 w 4030"/>
                <a:gd name="T43" fmla="*/ 121 h 3266"/>
                <a:gd name="T44" fmla="*/ 185 w 4030"/>
                <a:gd name="T45" fmla="*/ 273 h 3266"/>
                <a:gd name="T46" fmla="*/ 77 w 4030"/>
                <a:gd name="T47" fmla="*/ 413 h 3266"/>
                <a:gd name="T48" fmla="*/ 140 w 4030"/>
                <a:gd name="T49" fmla="*/ 547 h 3266"/>
                <a:gd name="T50" fmla="*/ 312 w 4030"/>
                <a:gd name="T51" fmla="*/ 789 h 3266"/>
                <a:gd name="T52" fmla="*/ 306 w 4030"/>
                <a:gd name="T53" fmla="*/ 948 h 3266"/>
                <a:gd name="T54" fmla="*/ 452 w 4030"/>
                <a:gd name="T55" fmla="*/ 1069 h 3266"/>
                <a:gd name="T56" fmla="*/ 395 w 4030"/>
                <a:gd name="T57" fmla="*/ 1260 h 3266"/>
                <a:gd name="T58" fmla="*/ 465 w 4030"/>
                <a:gd name="T59" fmla="*/ 1387 h 3266"/>
                <a:gd name="T60" fmla="*/ 497 w 4030"/>
                <a:gd name="T61" fmla="*/ 2081 h 3266"/>
                <a:gd name="T62" fmla="*/ 624 w 4030"/>
                <a:gd name="T63" fmla="*/ 2202 h 3266"/>
                <a:gd name="T64" fmla="*/ 1114 w 4030"/>
                <a:gd name="T65" fmla="*/ 2577 h 3266"/>
                <a:gd name="T66" fmla="*/ 1668 w 4030"/>
                <a:gd name="T67" fmla="*/ 2679 h 3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30" h="3266">
                  <a:moveTo>
                    <a:pt x="1668" y="2679"/>
                  </a:moveTo>
                  <a:lnTo>
                    <a:pt x="1668" y="2679"/>
                  </a:lnTo>
                  <a:cubicBezTo>
                    <a:pt x="1833" y="2717"/>
                    <a:pt x="1782" y="2615"/>
                    <a:pt x="2062" y="2615"/>
                  </a:cubicBezTo>
                  <a:cubicBezTo>
                    <a:pt x="2062" y="2615"/>
                    <a:pt x="2190" y="2526"/>
                    <a:pt x="2292" y="2565"/>
                  </a:cubicBezTo>
                  <a:cubicBezTo>
                    <a:pt x="2393" y="2603"/>
                    <a:pt x="2559" y="2825"/>
                    <a:pt x="2693" y="2825"/>
                  </a:cubicBezTo>
                  <a:cubicBezTo>
                    <a:pt x="2826" y="2825"/>
                    <a:pt x="3036" y="2915"/>
                    <a:pt x="3138" y="3016"/>
                  </a:cubicBezTo>
                  <a:cubicBezTo>
                    <a:pt x="3240" y="3118"/>
                    <a:pt x="3526" y="3188"/>
                    <a:pt x="3603" y="3265"/>
                  </a:cubicBezTo>
                  <a:cubicBezTo>
                    <a:pt x="3603" y="3265"/>
                    <a:pt x="3647" y="2953"/>
                    <a:pt x="3864" y="2806"/>
                  </a:cubicBezTo>
                  <a:cubicBezTo>
                    <a:pt x="4029" y="2698"/>
                    <a:pt x="3768" y="2431"/>
                    <a:pt x="3660" y="2234"/>
                  </a:cubicBezTo>
                  <a:cubicBezTo>
                    <a:pt x="3577" y="2170"/>
                    <a:pt x="3386" y="1845"/>
                    <a:pt x="3278" y="1801"/>
                  </a:cubicBezTo>
                  <a:cubicBezTo>
                    <a:pt x="3157" y="1756"/>
                    <a:pt x="3094" y="1801"/>
                    <a:pt x="3151" y="1667"/>
                  </a:cubicBezTo>
                  <a:cubicBezTo>
                    <a:pt x="3208" y="1534"/>
                    <a:pt x="3017" y="1069"/>
                    <a:pt x="2992" y="923"/>
                  </a:cubicBezTo>
                  <a:cubicBezTo>
                    <a:pt x="2979" y="833"/>
                    <a:pt x="2896" y="770"/>
                    <a:pt x="2839" y="744"/>
                  </a:cubicBezTo>
                  <a:cubicBezTo>
                    <a:pt x="2737" y="783"/>
                    <a:pt x="2616" y="891"/>
                    <a:pt x="2616" y="891"/>
                  </a:cubicBezTo>
                  <a:cubicBezTo>
                    <a:pt x="2241" y="1177"/>
                    <a:pt x="2190" y="910"/>
                    <a:pt x="2018" y="910"/>
                  </a:cubicBezTo>
                  <a:cubicBezTo>
                    <a:pt x="1846" y="910"/>
                    <a:pt x="1292" y="757"/>
                    <a:pt x="1203" y="757"/>
                  </a:cubicBezTo>
                  <a:cubicBezTo>
                    <a:pt x="1120" y="757"/>
                    <a:pt x="1044" y="910"/>
                    <a:pt x="1044" y="910"/>
                  </a:cubicBezTo>
                  <a:cubicBezTo>
                    <a:pt x="1070" y="700"/>
                    <a:pt x="923" y="598"/>
                    <a:pt x="879" y="490"/>
                  </a:cubicBezTo>
                  <a:cubicBezTo>
                    <a:pt x="834" y="382"/>
                    <a:pt x="1006" y="229"/>
                    <a:pt x="930" y="152"/>
                  </a:cubicBezTo>
                  <a:cubicBezTo>
                    <a:pt x="777" y="0"/>
                    <a:pt x="573" y="152"/>
                    <a:pt x="478" y="178"/>
                  </a:cubicBezTo>
                  <a:cubicBezTo>
                    <a:pt x="382" y="203"/>
                    <a:pt x="179" y="25"/>
                    <a:pt x="39" y="25"/>
                  </a:cubicBezTo>
                  <a:cubicBezTo>
                    <a:pt x="0" y="25"/>
                    <a:pt x="39" y="121"/>
                    <a:pt x="39" y="121"/>
                  </a:cubicBezTo>
                  <a:cubicBezTo>
                    <a:pt x="58" y="184"/>
                    <a:pt x="166" y="133"/>
                    <a:pt x="185" y="273"/>
                  </a:cubicBezTo>
                  <a:cubicBezTo>
                    <a:pt x="185" y="331"/>
                    <a:pt x="45" y="375"/>
                    <a:pt x="77" y="413"/>
                  </a:cubicBezTo>
                  <a:cubicBezTo>
                    <a:pt x="115" y="445"/>
                    <a:pt x="140" y="547"/>
                    <a:pt x="140" y="547"/>
                  </a:cubicBezTo>
                  <a:cubicBezTo>
                    <a:pt x="140" y="770"/>
                    <a:pt x="236" y="751"/>
                    <a:pt x="312" y="789"/>
                  </a:cubicBezTo>
                  <a:cubicBezTo>
                    <a:pt x="389" y="821"/>
                    <a:pt x="306" y="884"/>
                    <a:pt x="306" y="948"/>
                  </a:cubicBezTo>
                  <a:cubicBezTo>
                    <a:pt x="306" y="1012"/>
                    <a:pt x="433" y="1018"/>
                    <a:pt x="452" y="1069"/>
                  </a:cubicBezTo>
                  <a:cubicBezTo>
                    <a:pt x="471" y="1120"/>
                    <a:pt x="395" y="1164"/>
                    <a:pt x="395" y="1260"/>
                  </a:cubicBezTo>
                  <a:cubicBezTo>
                    <a:pt x="395" y="1355"/>
                    <a:pt x="465" y="1387"/>
                    <a:pt x="465" y="1387"/>
                  </a:cubicBezTo>
                  <a:cubicBezTo>
                    <a:pt x="465" y="1387"/>
                    <a:pt x="331" y="1960"/>
                    <a:pt x="497" y="2081"/>
                  </a:cubicBezTo>
                  <a:cubicBezTo>
                    <a:pt x="662" y="2195"/>
                    <a:pt x="624" y="2202"/>
                    <a:pt x="624" y="2202"/>
                  </a:cubicBezTo>
                  <a:cubicBezTo>
                    <a:pt x="624" y="2202"/>
                    <a:pt x="1070" y="2533"/>
                    <a:pt x="1114" y="2577"/>
                  </a:cubicBezTo>
                  <a:cubicBezTo>
                    <a:pt x="1165" y="2628"/>
                    <a:pt x="1502" y="2641"/>
                    <a:pt x="1668" y="267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" name="Freeform 489"/>
            <p:cNvSpPr>
              <a:spLocks noChangeArrowheads="1"/>
            </p:cNvSpPr>
            <p:nvPr/>
          </p:nvSpPr>
          <p:spPr bwMode="auto">
            <a:xfrm>
              <a:off x="10672937" y="5012049"/>
              <a:ext cx="2685666" cy="1537679"/>
            </a:xfrm>
            <a:custGeom>
              <a:avLst/>
              <a:gdLst>
                <a:gd name="T0" fmla="*/ 3799 w 5232"/>
                <a:gd name="T1" fmla="*/ 2724 h 2992"/>
                <a:gd name="T2" fmla="*/ 4900 w 5232"/>
                <a:gd name="T3" fmla="*/ 2495 h 2992"/>
                <a:gd name="T4" fmla="*/ 5155 w 5232"/>
                <a:gd name="T5" fmla="*/ 1190 h 2992"/>
                <a:gd name="T6" fmla="*/ 5174 w 5232"/>
                <a:gd name="T7" fmla="*/ 1005 h 2992"/>
                <a:gd name="T8" fmla="*/ 4111 w 5232"/>
                <a:gd name="T9" fmla="*/ 655 h 2992"/>
                <a:gd name="T10" fmla="*/ 3876 w 5232"/>
                <a:gd name="T11" fmla="*/ 674 h 2992"/>
                <a:gd name="T12" fmla="*/ 3596 w 5232"/>
                <a:gd name="T13" fmla="*/ 706 h 2992"/>
                <a:gd name="T14" fmla="*/ 3462 w 5232"/>
                <a:gd name="T15" fmla="*/ 585 h 2992"/>
                <a:gd name="T16" fmla="*/ 3278 w 5232"/>
                <a:gd name="T17" fmla="*/ 547 h 2992"/>
                <a:gd name="T18" fmla="*/ 2768 w 5232"/>
                <a:gd name="T19" fmla="*/ 522 h 2992"/>
                <a:gd name="T20" fmla="*/ 2527 w 5232"/>
                <a:gd name="T21" fmla="*/ 242 h 2992"/>
                <a:gd name="T22" fmla="*/ 2399 w 5232"/>
                <a:gd name="T23" fmla="*/ 38 h 2992"/>
                <a:gd name="T24" fmla="*/ 2259 w 5232"/>
                <a:gd name="T25" fmla="*/ 31 h 2992"/>
                <a:gd name="T26" fmla="*/ 1839 w 5232"/>
                <a:gd name="T27" fmla="*/ 89 h 2992"/>
                <a:gd name="T28" fmla="*/ 1744 w 5232"/>
                <a:gd name="T29" fmla="*/ 401 h 2992"/>
                <a:gd name="T30" fmla="*/ 1387 w 5232"/>
                <a:gd name="T31" fmla="*/ 394 h 2992"/>
                <a:gd name="T32" fmla="*/ 1266 w 5232"/>
                <a:gd name="T33" fmla="*/ 248 h 2992"/>
                <a:gd name="T34" fmla="*/ 954 w 5232"/>
                <a:gd name="T35" fmla="*/ 305 h 2992"/>
                <a:gd name="T36" fmla="*/ 713 w 5232"/>
                <a:gd name="T37" fmla="*/ 311 h 2992"/>
                <a:gd name="T38" fmla="*/ 153 w 5232"/>
                <a:gd name="T39" fmla="*/ 541 h 2992"/>
                <a:gd name="T40" fmla="*/ 38 w 5232"/>
                <a:gd name="T41" fmla="*/ 929 h 2992"/>
                <a:gd name="T42" fmla="*/ 280 w 5232"/>
                <a:gd name="T43" fmla="*/ 948 h 2992"/>
                <a:gd name="T44" fmla="*/ 274 w 5232"/>
                <a:gd name="T45" fmla="*/ 1063 h 2992"/>
                <a:gd name="T46" fmla="*/ 363 w 5232"/>
                <a:gd name="T47" fmla="*/ 1317 h 2992"/>
                <a:gd name="T48" fmla="*/ 687 w 5232"/>
                <a:gd name="T49" fmla="*/ 1292 h 2992"/>
                <a:gd name="T50" fmla="*/ 267 w 5232"/>
                <a:gd name="T51" fmla="*/ 1508 h 2992"/>
                <a:gd name="T52" fmla="*/ 579 w 5232"/>
                <a:gd name="T53" fmla="*/ 1845 h 2992"/>
                <a:gd name="T54" fmla="*/ 795 w 5232"/>
                <a:gd name="T55" fmla="*/ 2119 h 2992"/>
                <a:gd name="T56" fmla="*/ 961 w 5232"/>
                <a:gd name="T57" fmla="*/ 1884 h 2992"/>
                <a:gd name="T58" fmla="*/ 1190 w 5232"/>
                <a:gd name="T59" fmla="*/ 2087 h 2992"/>
                <a:gd name="T60" fmla="*/ 1852 w 5232"/>
                <a:gd name="T61" fmla="*/ 2431 h 2992"/>
                <a:gd name="T62" fmla="*/ 2164 w 5232"/>
                <a:gd name="T63" fmla="*/ 2565 h 2992"/>
                <a:gd name="T64" fmla="*/ 2259 w 5232"/>
                <a:gd name="T65" fmla="*/ 2673 h 2992"/>
                <a:gd name="T66" fmla="*/ 2724 w 5232"/>
                <a:gd name="T67" fmla="*/ 2590 h 2992"/>
                <a:gd name="T68" fmla="*/ 2514 w 5232"/>
                <a:gd name="T69" fmla="*/ 2755 h 2992"/>
                <a:gd name="T70" fmla="*/ 2819 w 5232"/>
                <a:gd name="T71" fmla="*/ 2864 h 2992"/>
                <a:gd name="T72" fmla="*/ 3169 w 5232"/>
                <a:gd name="T73" fmla="*/ 2991 h 2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32" h="2992">
                  <a:moveTo>
                    <a:pt x="3799" y="2724"/>
                  </a:moveTo>
                  <a:lnTo>
                    <a:pt x="3799" y="2724"/>
                  </a:lnTo>
                  <a:cubicBezTo>
                    <a:pt x="3895" y="2571"/>
                    <a:pt x="4379" y="2412"/>
                    <a:pt x="4493" y="2412"/>
                  </a:cubicBezTo>
                  <a:cubicBezTo>
                    <a:pt x="4608" y="2412"/>
                    <a:pt x="4900" y="2495"/>
                    <a:pt x="4900" y="2495"/>
                  </a:cubicBezTo>
                  <a:cubicBezTo>
                    <a:pt x="4862" y="2221"/>
                    <a:pt x="5079" y="2119"/>
                    <a:pt x="5155" y="2043"/>
                  </a:cubicBezTo>
                  <a:cubicBezTo>
                    <a:pt x="5231" y="1966"/>
                    <a:pt x="5155" y="1298"/>
                    <a:pt x="5155" y="1190"/>
                  </a:cubicBezTo>
                  <a:cubicBezTo>
                    <a:pt x="5155" y="1139"/>
                    <a:pt x="5187" y="1075"/>
                    <a:pt x="5219" y="1031"/>
                  </a:cubicBezTo>
                  <a:cubicBezTo>
                    <a:pt x="5200" y="1024"/>
                    <a:pt x="5180" y="1018"/>
                    <a:pt x="5174" y="1005"/>
                  </a:cubicBezTo>
                  <a:cubicBezTo>
                    <a:pt x="5130" y="961"/>
                    <a:pt x="4684" y="630"/>
                    <a:pt x="4684" y="630"/>
                  </a:cubicBezTo>
                  <a:cubicBezTo>
                    <a:pt x="4417" y="853"/>
                    <a:pt x="4137" y="687"/>
                    <a:pt x="4111" y="655"/>
                  </a:cubicBezTo>
                  <a:cubicBezTo>
                    <a:pt x="4079" y="630"/>
                    <a:pt x="4150" y="534"/>
                    <a:pt x="4079" y="490"/>
                  </a:cubicBezTo>
                  <a:cubicBezTo>
                    <a:pt x="4016" y="452"/>
                    <a:pt x="3908" y="642"/>
                    <a:pt x="3876" y="674"/>
                  </a:cubicBezTo>
                  <a:cubicBezTo>
                    <a:pt x="3844" y="706"/>
                    <a:pt x="3793" y="630"/>
                    <a:pt x="3749" y="630"/>
                  </a:cubicBezTo>
                  <a:cubicBezTo>
                    <a:pt x="3704" y="630"/>
                    <a:pt x="3634" y="693"/>
                    <a:pt x="3596" y="706"/>
                  </a:cubicBezTo>
                  <a:cubicBezTo>
                    <a:pt x="3558" y="719"/>
                    <a:pt x="3558" y="617"/>
                    <a:pt x="3526" y="585"/>
                  </a:cubicBezTo>
                  <a:cubicBezTo>
                    <a:pt x="3494" y="547"/>
                    <a:pt x="3494" y="617"/>
                    <a:pt x="3462" y="585"/>
                  </a:cubicBezTo>
                  <a:cubicBezTo>
                    <a:pt x="3430" y="553"/>
                    <a:pt x="3558" y="515"/>
                    <a:pt x="3532" y="483"/>
                  </a:cubicBezTo>
                  <a:cubicBezTo>
                    <a:pt x="3507" y="458"/>
                    <a:pt x="3354" y="534"/>
                    <a:pt x="3278" y="547"/>
                  </a:cubicBezTo>
                  <a:cubicBezTo>
                    <a:pt x="3195" y="560"/>
                    <a:pt x="3036" y="719"/>
                    <a:pt x="2959" y="738"/>
                  </a:cubicBezTo>
                  <a:cubicBezTo>
                    <a:pt x="2889" y="763"/>
                    <a:pt x="2896" y="617"/>
                    <a:pt x="2768" y="522"/>
                  </a:cubicBezTo>
                  <a:cubicBezTo>
                    <a:pt x="2635" y="420"/>
                    <a:pt x="2635" y="254"/>
                    <a:pt x="2603" y="229"/>
                  </a:cubicBezTo>
                  <a:cubicBezTo>
                    <a:pt x="2577" y="197"/>
                    <a:pt x="2558" y="242"/>
                    <a:pt x="2527" y="242"/>
                  </a:cubicBezTo>
                  <a:cubicBezTo>
                    <a:pt x="2488" y="242"/>
                    <a:pt x="2520" y="184"/>
                    <a:pt x="2488" y="152"/>
                  </a:cubicBezTo>
                  <a:cubicBezTo>
                    <a:pt x="2456" y="121"/>
                    <a:pt x="2418" y="51"/>
                    <a:pt x="2399" y="38"/>
                  </a:cubicBezTo>
                  <a:cubicBezTo>
                    <a:pt x="2387" y="25"/>
                    <a:pt x="2342" y="95"/>
                    <a:pt x="2329" y="108"/>
                  </a:cubicBezTo>
                  <a:cubicBezTo>
                    <a:pt x="2310" y="127"/>
                    <a:pt x="2291" y="57"/>
                    <a:pt x="2259" y="31"/>
                  </a:cubicBezTo>
                  <a:cubicBezTo>
                    <a:pt x="2234" y="0"/>
                    <a:pt x="2068" y="114"/>
                    <a:pt x="2030" y="152"/>
                  </a:cubicBezTo>
                  <a:cubicBezTo>
                    <a:pt x="1992" y="191"/>
                    <a:pt x="1890" y="70"/>
                    <a:pt x="1839" y="89"/>
                  </a:cubicBezTo>
                  <a:cubicBezTo>
                    <a:pt x="1788" y="108"/>
                    <a:pt x="1839" y="273"/>
                    <a:pt x="1814" y="299"/>
                  </a:cubicBezTo>
                  <a:cubicBezTo>
                    <a:pt x="1788" y="324"/>
                    <a:pt x="1801" y="401"/>
                    <a:pt x="1744" y="401"/>
                  </a:cubicBezTo>
                  <a:cubicBezTo>
                    <a:pt x="1693" y="401"/>
                    <a:pt x="1547" y="299"/>
                    <a:pt x="1489" y="299"/>
                  </a:cubicBezTo>
                  <a:cubicBezTo>
                    <a:pt x="1432" y="299"/>
                    <a:pt x="1426" y="394"/>
                    <a:pt x="1387" y="394"/>
                  </a:cubicBezTo>
                  <a:cubicBezTo>
                    <a:pt x="1349" y="394"/>
                    <a:pt x="1317" y="350"/>
                    <a:pt x="1285" y="350"/>
                  </a:cubicBezTo>
                  <a:cubicBezTo>
                    <a:pt x="1260" y="350"/>
                    <a:pt x="1266" y="248"/>
                    <a:pt x="1266" y="248"/>
                  </a:cubicBezTo>
                  <a:cubicBezTo>
                    <a:pt x="1266" y="229"/>
                    <a:pt x="1165" y="286"/>
                    <a:pt x="1088" y="305"/>
                  </a:cubicBezTo>
                  <a:cubicBezTo>
                    <a:pt x="1012" y="324"/>
                    <a:pt x="961" y="305"/>
                    <a:pt x="954" y="305"/>
                  </a:cubicBezTo>
                  <a:cubicBezTo>
                    <a:pt x="929" y="305"/>
                    <a:pt x="936" y="337"/>
                    <a:pt x="891" y="375"/>
                  </a:cubicBezTo>
                  <a:cubicBezTo>
                    <a:pt x="846" y="420"/>
                    <a:pt x="745" y="311"/>
                    <a:pt x="713" y="311"/>
                  </a:cubicBezTo>
                  <a:cubicBezTo>
                    <a:pt x="674" y="311"/>
                    <a:pt x="388" y="420"/>
                    <a:pt x="388" y="464"/>
                  </a:cubicBezTo>
                  <a:cubicBezTo>
                    <a:pt x="388" y="503"/>
                    <a:pt x="210" y="515"/>
                    <a:pt x="153" y="541"/>
                  </a:cubicBezTo>
                  <a:cubicBezTo>
                    <a:pt x="89" y="560"/>
                    <a:pt x="70" y="655"/>
                    <a:pt x="89" y="712"/>
                  </a:cubicBezTo>
                  <a:cubicBezTo>
                    <a:pt x="102" y="770"/>
                    <a:pt x="38" y="840"/>
                    <a:pt x="38" y="929"/>
                  </a:cubicBezTo>
                  <a:cubicBezTo>
                    <a:pt x="38" y="1018"/>
                    <a:pt x="95" y="993"/>
                    <a:pt x="127" y="993"/>
                  </a:cubicBezTo>
                  <a:cubicBezTo>
                    <a:pt x="159" y="993"/>
                    <a:pt x="172" y="967"/>
                    <a:pt x="280" y="948"/>
                  </a:cubicBezTo>
                  <a:cubicBezTo>
                    <a:pt x="388" y="922"/>
                    <a:pt x="394" y="1024"/>
                    <a:pt x="369" y="999"/>
                  </a:cubicBezTo>
                  <a:cubicBezTo>
                    <a:pt x="343" y="967"/>
                    <a:pt x="337" y="1031"/>
                    <a:pt x="274" y="1063"/>
                  </a:cubicBezTo>
                  <a:cubicBezTo>
                    <a:pt x="210" y="1094"/>
                    <a:pt x="254" y="1133"/>
                    <a:pt x="254" y="1133"/>
                  </a:cubicBezTo>
                  <a:cubicBezTo>
                    <a:pt x="331" y="1158"/>
                    <a:pt x="286" y="1317"/>
                    <a:pt x="363" y="1317"/>
                  </a:cubicBezTo>
                  <a:cubicBezTo>
                    <a:pt x="439" y="1317"/>
                    <a:pt x="401" y="1215"/>
                    <a:pt x="477" y="1215"/>
                  </a:cubicBezTo>
                  <a:cubicBezTo>
                    <a:pt x="547" y="1215"/>
                    <a:pt x="687" y="1241"/>
                    <a:pt x="687" y="1292"/>
                  </a:cubicBezTo>
                  <a:cubicBezTo>
                    <a:pt x="687" y="1349"/>
                    <a:pt x="751" y="1406"/>
                    <a:pt x="719" y="1444"/>
                  </a:cubicBezTo>
                  <a:cubicBezTo>
                    <a:pt x="681" y="1483"/>
                    <a:pt x="496" y="1470"/>
                    <a:pt x="267" y="1508"/>
                  </a:cubicBezTo>
                  <a:cubicBezTo>
                    <a:pt x="38" y="1553"/>
                    <a:pt x="0" y="1648"/>
                    <a:pt x="210" y="1648"/>
                  </a:cubicBezTo>
                  <a:cubicBezTo>
                    <a:pt x="420" y="1648"/>
                    <a:pt x="547" y="1813"/>
                    <a:pt x="579" y="1845"/>
                  </a:cubicBezTo>
                  <a:cubicBezTo>
                    <a:pt x="617" y="1884"/>
                    <a:pt x="579" y="2062"/>
                    <a:pt x="579" y="2062"/>
                  </a:cubicBezTo>
                  <a:cubicBezTo>
                    <a:pt x="579" y="2189"/>
                    <a:pt x="738" y="2119"/>
                    <a:pt x="795" y="2119"/>
                  </a:cubicBezTo>
                  <a:cubicBezTo>
                    <a:pt x="821" y="2119"/>
                    <a:pt x="783" y="2081"/>
                    <a:pt x="802" y="2030"/>
                  </a:cubicBezTo>
                  <a:cubicBezTo>
                    <a:pt x="827" y="1966"/>
                    <a:pt x="916" y="1890"/>
                    <a:pt x="961" y="1884"/>
                  </a:cubicBezTo>
                  <a:cubicBezTo>
                    <a:pt x="1031" y="1871"/>
                    <a:pt x="974" y="2024"/>
                    <a:pt x="1031" y="2024"/>
                  </a:cubicBezTo>
                  <a:cubicBezTo>
                    <a:pt x="1088" y="2024"/>
                    <a:pt x="1177" y="1979"/>
                    <a:pt x="1190" y="2087"/>
                  </a:cubicBezTo>
                  <a:cubicBezTo>
                    <a:pt x="1203" y="2195"/>
                    <a:pt x="1279" y="2227"/>
                    <a:pt x="1279" y="2227"/>
                  </a:cubicBezTo>
                  <a:cubicBezTo>
                    <a:pt x="1623" y="2170"/>
                    <a:pt x="1776" y="2406"/>
                    <a:pt x="1852" y="2431"/>
                  </a:cubicBezTo>
                  <a:cubicBezTo>
                    <a:pt x="1928" y="2456"/>
                    <a:pt x="1922" y="2437"/>
                    <a:pt x="1979" y="2450"/>
                  </a:cubicBezTo>
                  <a:cubicBezTo>
                    <a:pt x="2043" y="2469"/>
                    <a:pt x="2132" y="2533"/>
                    <a:pt x="2164" y="2565"/>
                  </a:cubicBezTo>
                  <a:cubicBezTo>
                    <a:pt x="2196" y="2596"/>
                    <a:pt x="2176" y="2857"/>
                    <a:pt x="2221" y="2857"/>
                  </a:cubicBezTo>
                  <a:cubicBezTo>
                    <a:pt x="2272" y="2857"/>
                    <a:pt x="2259" y="2717"/>
                    <a:pt x="2259" y="2673"/>
                  </a:cubicBezTo>
                  <a:cubicBezTo>
                    <a:pt x="2259" y="2628"/>
                    <a:pt x="2444" y="2743"/>
                    <a:pt x="2469" y="2686"/>
                  </a:cubicBezTo>
                  <a:cubicBezTo>
                    <a:pt x="2495" y="2635"/>
                    <a:pt x="2679" y="2501"/>
                    <a:pt x="2724" y="2590"/>
                  </a:cubicBezTo>
                  <a:cubicBezTo>
                    <a:pt x="2768" y="2679"/>
                    <a:pt x="2781" y="2526"/>
                    <a:pt x="2826" y="2635"/>
                  </a:cubicBezTo>
                  <a:cubicBezTo>
                    <a:pt x="2870" y="2736"/>
                    <a:pt x="2546" y="2755"/>
                    <a:pt x="2514" y="2755"/>
                  </a:cubicBezTo>
                  <a:cubicBezTo>
                    <a:pt x="2476" y="2755"/>
                    <a:pt x="2622" y="2845"/>
                    <a:pt x="2622" y="2845"/>
                  </a:cubicBezTo>
                  <a:cubicBezTo>
                    <a:pt x="2622" y="2845"/>
                    <a:pt x="2781" y="2902"/>
                    <a:pt x="2819" y="2864"/>
                  </a:cubicBezTo>
                  <a:cubicBezTo>
                    <a:pt x="2857" y="2825"/>
                    <a:pt x="3112" y="2768"/>
                    <a:pt x="3074" y="2845"/>
                  </a:cubicBezTo>
                  <a:cubicBezTo>
                    <a:pt x="3042" y="2921"/>
                    <a:pt x="3157" y="2940"/>
                    <a:pt x="3169" y="2991"/>
                  </a:cubicBezTo>
                  <a:cubicBezTo>
                    <a:pt x="3443" y="2959"/>
                    <a:pt x="3717" y="2845"/>
                    <a:pt x="3799" y="272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" name="Freeform 490"/>
            <p:cNvSpPr>
              <a:spLocks noChangeArrowheads="1"/>
            </p:cNvSpPr>
            <p:nvPr/>
          </p:nvSpPr>
          <p:spPr bwMode="auto">
            <a:xfrm>
              <a:off x="12185606" y="5501207"/>
              <a:ext cx="2522625" cy="2343884"/>
            </a:xfrm>
            <a:custGeom>
              <a:avLst/>
              <a:gdLst>
                <a:gd name="T0" fmla="*/ 2641 w 4914"/>
                <a:gd name="T1" fmla="*/ 4563 h 4564"/>
                <a:gd name="T2" fmla="*/ 2641 w 4914"/>
                <a:gd name="T3" fmla="*/ 4563 h 4564"/>
                <a:gd name="T4" fmla="*/ 2475 w 4914"/>
                <a:gd name="T5" fmla="*/ 3227 h 4564"/>
                <a:gd name="T6" fmla="*/ 2685 w 4914"/>
                <a:gd name="T7" fmla="*/ 3087 h 4564"/>
                <a:gd name="T8" fmla="*/ 3093 w 4914"/>
                <a:gd name="T9" fmla="*/ 2928 h 4564"/>
                <a:gd name="T10" fmla="*/ 3672 w 4914"/>
                <a:gd name="T11" fmla="*/ 2871 h 4564"/>
                <a:gd name="T12" fmla="*/ 4009 w 4914"/>
                <a:gd name="T13" fmla="*/ 1992 h 4564"/>
                <a:gd name="T14" fmla="*/ 4537 w 4914"/>
                <a:gd name="T15" fmla="*/ 1560 h 4564"/>
                <a:gd name="T16" fmla="*/ 4747 w 4914"/>
                <a:gd name="T17" fmla="*/ 1241 h 4564"/>
                <a:gd name="T18" fmla="*/ 4913 w 4914"/>
                <a:gd name="T19" fmla="*/ 917 h 4564"/>
                <a:gd name="T20" fmla="*/ 4716 w 4914"/>
                <a:gd name="T21" fmla="*/ 739 h 4564"/>
                <a:gd name="T22" fmla="*/ 4251 w 4914"/>
                <a:gd name="T23" fmla="*/ 490 h 4564"/>
                <a:gd name="T24" fmla="*/ 3806 w 4914"/>
                <a:gd name="T25" fmla="*/ 299 h 4564"/>
                <a:gd name="T26" fmla="*/ 3405 w 4914"/>
                <a:gd name="T27" fmla="*/ 39 h 4564"/>
                <a:gd name="T28" fmla="*/ 3175 w 4914"/>
                <a:gd name="T29" fmla="*/ 89 h 4564"/>
                <a:gd name="T30" fmla="*/ 2781 w 4914"/>
                <a:gd name="T31" fmla="*/ 153 h 4564"/>
                <a:gd name="T32" fmla="*/ 2272 w 4914"/>
                <a:gd name="T33" fmla="*/ 77 h 4564"/>
                <a:gd name="T34" fmla="*/ 2208 w 4914"/>
                <a:gd name="T35" fmla="*/ 236 h 4564"/>
                <a:gd name="T36" fmla="*/ 2208 w 4914"/>
                <a:gd name="T37" fmla="*/ 1089 h 4564"/>
                <a:gd name="T38" fmla="*/ 1953 w 4914"/>
                <a:gd name="T39" fmla="*/ 1541 h 4564"/>
                <a:gd name="T40" fmla="*/ 1546 w 4914"/>
                <a:gd name="T41" fmla="*/ 1458 h 4564"/>
                <a:gd name="T42" fmla="*/ 852 w 4914"/>
                <a:gd name="T43" fmla="*/ 1770 h 4564"/>
                <a:gd name="T44" fmla="*/ 222 w 4914"/>
                <a:gd name="T45" fmla="*/ 2037 h 4564"/>
                <a:gd name="T46" fmla="*/ 222 w 4914"/>
                <a:gd name="T47" fmla="*/ 2043 h 4564"/>
                <a:gd name="T48" fmla="*/ 76 w 4914"/>
                <a:gd name="T49" fmla="*/ 2107 h 4564"/>
                <a:gd name="T50" fmla="*/ 63 w 4914"/>
                <a:gd name="T51" fmla="*/ 2209 h 4564"/>
                <a:gd name="T52" fmla="*/ 31 w 4914"/>
                <a:gd name="T53" fmla="*/ 2330 h 4564"/>
                <a:gd name="T54" fmla="*/ 210 w 4914"/>
                <a:gd name="T55" fmla="*/ 2393 h 4564"/>
                <a:gd name="T56" fmla="*/ 331 w 4914"/>
                <a:gd name="T57" fmla="*/ 2425 h 4564"/>
                <a:gd name="T58" fmla="*/ 458 w 4914"/>
                <a:gd name="T59" fmla="*/ 2406 h 4564"/>
                <a:gd name="T60" fmla="*/ 553 w 4914"/>
                <a:gd name="T61" fmla="*/ 2400 h 4564"/>
                <a:gd name="T62" fmla="*/ 572 w 4914"/>
                <a:gd name="T63" fmla="*/ 2540 h 4564"/>
                <a:gd name="T64" fmla="*/ 490 w 4914"/>
                <a:gd name="T65" fmla="*/ 2699 h 4564"/>
                <a:gd name="T66" fmla="*/ 776 w 4914"/>
                <a:gd name="T67" fmla="*/ 2864 h 4564"/>
                <a:gd name="T68" fmla="*/ 687 w 4914"/>
                <a:gd name="T69" fmla="*/ 2960 h 4564"/>
                <a:gd name="T70" fmla="*/ 528 w 4914"/>
                <a:gd name="T71" fmla="*/ 3119 h 4564"/>
                <a:gd name="T72" fmla="*/ 649 w 4914"/>
                <a:gd name="T73" fmla="*/ 3475 h 4564"/>
                <a:gd name="T74" fmla="*/ 770 w 4914"/>
                <a:gd name="T75" fmla="*/ 3596 h 4564"/>
                <a:gd name="T76" fmla="*/ 993 w 4914"/>
                <a:gd name="T77" fmla="*/ 3978 h 4564"/>
                <a:gd name="T78" fmla="*/ 1164 w 4914"/>
                <a:gd name="T79" fmla="*/ 4067 h 4564"/>
                <a:gd name="T80" fmla="*/ 1387 w 4914"/>
                <a:gd name="T81" fmla="*/ 4188 h 4564"/>
                <a:gd name="T82" fmla="*/ 1540 w 4914"/>
                <a:gd name="T83" fmla="*/ 4284 h 4564"/>
                <a:gd name="T84" fmla="*/ 1667 w 4914"/>
                <a:gd name="T85" fmla="*/ 4347 h 4564"/>
                <a:gd name="T86" fmla="*/ 1820 w 4914"/>
                <a:gd name="T87" fmla="*/ 4435 h 4564"/>
                <a:gd name="T88" fmla="*/ 1947 w 4914"/>
                <a:gd name="T89" fmla="*/ 4404 h 4564"/>
                <a:gd name="T90" fmla="*/ 1953 w 4914"/>
                <a:gd name="T91" fmla="*/ 4410 h 4564"/>
                <a:gd name="T92" fmla="*/ 2144 w 4914"/>
                <a:gd name="T93" fmla="*/ 4347 h 4564"/>
                <a:gd name="T94" fmla="*/ 2641 w 4914"/>
                <a:gd name="T95" fmla="*/ 4563 h 4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914" h="4564">
                  <a:moveTo>
                    <a:pt x="2641" y="4563"/>
                  </a:moveTo>
                  <a:lnTo>
                    <a:pt x="2641" y="4563"/>
                  </a:lnTo>
                  <a:cubicBezTo>
                    <a:pt x="2775" y="4563"/>
                    <a:pt x="2838" y="3819"/>
                    <a:pt x="2475" y="3227"/>
                  </a:cubicBezTo>
                  <a:cubicBezTo>
                    <a:pt x="2475" y="3227"/>
                    <a:pt x="2437" y="3087"/>
                    <a:pt x="2685" y="3087"/>
                  </a:cubicBezTo>
                  <a:cubicBezTo>
                    <a:pt x="2934" y="3087"/>
                    <a:pt x="2851" y="2928"/>
                    <a:pt x="3093" y="2928"/>
                  </a:cubicBezTo>
                  <a:cubicBezTo>
                    <a:pt x="3335" y="2928"/>
                    <a:pt x="3468" y="3074"/>
                    <a:pt x="3672" y="2871"/>
                  </a:cubicBezTo>
                  <a:cubicBezTo>
                    <a:pt x="3876" y="2667"/>
                    <a:pt x="3856" y="2145"/>
                    <a:pt x="4009" y="1992"/>
                  </a:cubicBezTo>
                  <a:cubicBezTo>
                    <a:pt x="4162" y="1840"/>
                    <a:pt x="4417" y="1967"/>
                    <a:pt x="4537" y="1560"/>
                  </a:cubicBezTo>
                  <a:cubicBezTo>
                    <a:pt x="4537" y="1560"/>
                    <a:pt x="4747" y="1407"/>
                    <a:pt x="4747" y="1241"/>
                  </a:cubicBezTo>
                  <a:cubicBezTo>
                    <a:pt x="4747" y="1076"/>
                    <a:pt x="4913" y="917"/>
                    <a:pt x="4913" y="917"/>
                  </a:cubicBezTo>
                  <a:cubicBezTo>
                    <a:pt x="4716" y="739"/>
                    <a:pt x="4716" y="739"/>
                    <a:pt x="4716" y="739"/>
                  </a:cubicBezTo>
                  <a:cubicBezTo>
                    <a:pt x="4639" y="662"/>
                    <a:pt x="4353" y="592"/>
                    <a:pt x="4251" y="490"/>
                  </a:cubicBezTo>
                  <a:cubicBezTo>
                    <a:pt x="4149" y="389"/>
                    <a:pt x="3939" y="299"/>
                    <a:pt x="3806" y="299"/>
                  </a:cubicBezTo>
                  <a:cubicBezTo>
                    <a:pt x="3672" y="299"/>
                    <a:pt x="3506" y="77"/>
                    <a:pt x="3405" y="39"/>
                  </a:cubicBezTo>
                  <a:cubicBezTo>
                    <a:pt x="3303" y="0"/>
                    <a:pt x="3175" y="89"/>
                    <a:pt x="3175" y="89"/>
                  </a:cubicBezTo>
                  <a:cubicBezTo>
                    <a:pt x="2895" y="89"/>
                    <a:pt x="2946" y="191"/>
                    <a:pt x="2781" y="153"/>
                  </a:cubicBezTo>
                  <a:cubicBezTo>
                    <a:pt x="2641" y="121"/>
                    <a:pt x="2380" y="109"/>
                    <a:pt x="2272" y="77"/>
                  </a:cubicBezTo>
                  <a:cubicBezTo>
                    <a:pt x="2240" y="121"/>
                    <a:pt x="2208" y="185"/>
                    <a:pt x="2208" y="236"/>
                  </a:cubicBezTo>
                  <a:cubicBezTo>
                    <a:pt x="2208" y="344"/>
                    <a:pt x="2284" y="1012"/>
                    <a:pt x="2208" y="1089"/>
                  </a:cubicBezTo>
                  <a:cubicBezTo>
                    <a:pt x="2132" y="1165"/>
                    <a:pt x="1915" y="1267"/>
                    <a:pt x="1953" y="1541"/>
                  </a:cubicBezTo>
                  <a:cubicBezTo>
                    <a:pt x="1953" y="1541"/>
                    <a:pt x="1661" y="1458"/>
                    <a:pt x="1546" y="1458"/>
                  </a:cubicBezTo>
                  <a:cubicBezTo>
                    <a:pt x="1432" y="1458"/>
                    <a:pt x="948" y="1617"/>
                    <a:pt x="852" y="1770"/>
                  </a:cubicBezTo>
                  <a:cubicBezTo>
                    <a:pt x="770" y="1891"/>
                    <a:pt x="496" y="2005"/>
                    <a:pt x="222" y="2037"/>
                  </a:cubicBezTo>
                  <a:cubicBezTo>
                    <a:pt x="222" y="2043"/>
                    <a:pt x="222" y="2043"/>
                    <a:pt x="222" y="2043"/>
                  </a:cubicBezTo>
                  <a:cubicBezTo>
                    <a:pt x="222" y="2101"/>
                    <a:pt x="120" y="2069"/>
                    <a:pt x="76" y="2107"/>
                  </a:cubicBezTo>
                  <a:cubicBezTo>
                    <a:pt x="38" y="2145"/>
                    <a:pt x="19" y="2164"/>
                    <a:pt x="63" y="2209"/>
                  </a:cubicBezTo>
                  <a:cubicBezTo>
                    <a:pt x="108" y="2253"/>
                    <a:pt x="63" y="2304"/>
                    <a:pt x="31" y="2330"/>
                  </a:cubicBezTo>
                  <a:cubicBezTo>
                    <a:pt x="0" y="2361"/>
                    <a:pt x="178" y="2425"/>
                    <a:pt x="210" y="2393"/>
                  </a:cubicBezTo>
                  <a:cubicBezTo>
                    <a:pt x="241" y="2368"/>
                    <a:pt x="286" y="2381"/>
                    <a:pt x="331" y="2425"/>
                  </a:cubicBezTo>
                  <a:cubicBezTo>
                    <a:pt x="369" y="2463"/>
                    <a:pt x="432" y="2457"/>
                    <a:pt x="458" y="2406"/>
                  </a:cubicBezTo>
                  <a:cubicBezTo>
                    <a:pt x="477" y="2355"/>
                    <a:pt x="604" y="2349"/>
                    <a:pt x="553" y="2400"/>
                  </a:cubicBezTo>
                  <a:cubicBezTo>
                    <a:pt x="502" y="2451"/>
                    <a:pt x="611" y="2463"/>
                    <a:pt x="572" y="2540"/>
                  </a:cubicBezTo>
                  <a:cubicBezTo>
                    <a:pt x="534" y="2610"/>
                    <a:pt x="343" y="2699"/>
                    <a:pt x="490" y="2699"/>
                  </a:cubicBezTo>
                  <a:cubicBezTo>
                    <a:pt x="642" y="2699"/>
                    <a:pt x="744" y="2801"/>
                    <a:pt x="776" y="2864"/>
                  </a:cubicBezTo>
                  <a:cubicBezTo>
                    <a:pt x="814" y="2934"/>
                    <a:pt x="687" y="2820"/>
                    <a:pt x="687" y="2960"/>
                  </a:cubicBezTo>
                  <a:cubicBezTo>
                    <a:pt x="687" y="3093"/>
                    <a:pt x="585" y="3055"/>
                    <a:pt x="528" y="3119"/>
                  </a:cubicBezTo>
                  <a:cubicBezTo>
                    <a:pt x="464" y="3176"/>
                    <a:pt x="592" y="3443"/>
                    <a:pt x="649" y="3475"/>
                  </a:cubicBezTo>
                  <a:cubicBezTo>
                    <a:pt x="706" y="3507"/>
                    <a:pt x="655" y="3558"/>
                    <a:pt x="770" y="3596"/>
                  </a:cubicBezTo>
                  <a:cubicBezTo>
                    <a:pt x="878" y="3641"/>
                    <a:pt x="929" y="3978"/>
                    <a:pt x="993" y="3978"/>
                  </a:cubicBezTo>
                  <a:cubicBezTo>
                    <a:pt x="1050" y="3978"/>
                    <a:pt x="1120" y="4023"/>
                    <a:pt x="1164" y="4067"/>
                  </a:cubicBezTo>
                  <a:cubicBezTo>
                    <a:pt x="1203" y="4105"/>
                    <a:pt x="1387" y="4169"/>
                    <a:pt x="1387" y="4188"/>
                  </a:cubicBezTo>
                  <a:cubicBezTo>
                    <a:pt x="1387" y="4207"/>
                    <a:pt x="1432" y="4284"/>
                    <a:pt x="1540" y="4284"/>
                  </a:cubicBezTo>
                  <a:cubicBezTo>
                    <a:pt x="1654" y="4284"/>
                    <a:pt x="1635" y="4347"/>
                    <a:pt x="1667" y="4347"/>
                  </a:cubicBezTo>
                  <a:cubicBezTo>
                    <a:pt x="1705" y="4347"/>
                    <a:pt x="1782" y="4435"/>
                    <a:pt x="1820" y="4435"/>
                  </a:cubicBezTo>
                  <a:cubicBezTo>
                    <a:pt x="1852" y="4435"/>
                    <a:pt x="1896" y="4354"/>
                    <a:pt x="1947" y="4404"/>
                  </a:cubicBezTo>
                  <a:cubicBezTo>
                    <a:pt x="1947" y="4404"/>
                    <a:pt x="1947" y="4410"/>
                    <a:pt x="1953" y="4410"/>
                  </a:cubicBezTo>
                  <a:cubicBezTo>
                    <a:pt x="2004" y="4379"/>
                    <a:pt x="2081" y="4347"/>
                    <a:pt x="2144" y="4347"/>
                  </a:cubicBezTo>
                  <a:cubicBezTo>
                    <a:pt x="2284" y="4347"/>
                    <a:pt x="2507" y="4563"/>
                    <a:pt x="2641" y="456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" name="Freeform 491"/>
            <p:cNvSpPr>
              <a:spLocks noChangeArrowheads="1"/>
            </p:cNvSpPr>
            <p:nvPr/>
          </p:nvSpPr>
          <p:spPr bwMode="auto">
            <a:xfrm>
              <a:off x="14982231" y="4796909"/>
              <a:ext cx="1591926" cy="1173074"/>
            </a:xfrm>
            <a:custGeom>
              <a:avLst/>
              <a:gdLst>
                <a:gd name="T0" fmla="*/ 668 w 3099"/>
                <a:gd name="T1" fmla="*/ 1616 h 2285"/>
                <a:gd name="T2" fmla="*/ 668 w 3099"/>
                <a:gd name="T3" fmla="*/ 1616 h 2285"/>
                <a:gd name="T4" fmla="*/ 897 w 3099"/>
                <a:gd name="T5" fmla="*/ 1998 h 2285"/>
                <a:gd name="T6" fmla="*/ 1596 w 3099"/>
                <a:gd name="T7" fmla="*/ 2164 h 2285"/>
                <a:gd name="T8" fmla="*/ 1793 w 3099"/>
                <a:gd name="T9" fmla="*/ 2284 h 2285"/>
                <a:gd name="T10" fmla="*/ 2131 w 3099"/>
                <a:gd name="T11" fmla="*/ 2202 h 2285"/>
                <a:gd name="T12" fmla="*/ 2328 w 3099"/>
                <a:gd name="T13" fmla="*/ 2004 h 2285"/>
                <a:gd name="T14" fmla="*/ 2735 w 3099"/>
                <a:gd name="T15" fmla="*/ 1756 h 2285"/>
                <a:gd name="T16" fmla="*/ 2735 w 3099"/>
                <a:gd name="T17" fmla="*/ 1584 h 2285"/>
                <a:gd name="T18" fmla="*/ 3034 w 3099"/>
                <a:gd name="T19" fmla="*/ 1285 h 2285"/>
                <a:gd name="T20" fmla="*/ 2863 w 3099"/>
                <a:gd name="T21" fmla="*/ 833 h 2285"/>
                <a:gd name="T22" fmla="*/ 2379 w 3099"/>
                <a:gd name="T23" fmla="*/ 337 h 2285"/>
                <a:gd name="T24" fmla="*/ 1590 w 3099"/>
                <a:gd name="T25" fmla="*/ 318 h 2285"/>
                <a:gd name="T26" fmla="*/ 891 w 3099"/>
                <a:gd name="T27" fmla="*/ 184 h 2285"/>
                <a:gd name="T28" fmla="*/ 617 w 3099"/>
                <a:gd name="T29" fmla="*/ 0 h 2285"/>
                <a:gd name="T30" fmla="*/ 235 w 3099"/>
                <a:gd name="T31" fmla="*/ 700 h 2285"/>
                <a:gd name="T32" fmla="*/ 413 w 3099"/>
                <a:gd name="T33" fmla="*/ 1024 h 2285"/>
                <a:gd name="T34" fmla="*/ 668 w 3099"/>
                <a:gd name="T35" fmla="*/ 1616 h 2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99" h="2285">
                  <a:moveTo>
                    <a:pt x="668" y="1616"/>
                  </a:moveTo>
                  <a:lnTo>
                    <a:pt x="668" y="1616"/>
                  </a:lnTo>
                  <a:cubicBezTo>
                    <a:pt x="789" y="1788"/>
                    <a:pt x="833" y="1935"/>
                    <a:pt x="897" y="1998"/>
                  </a:cubicBezTo>
                  <a:cubicBezTo>
                    <a:pt x="967" y="2068"/>
                    <a:pt x="1304" y="1705"/>
                    <a:pt x="1596" y="2164"/>
                  </a:cubicBezTo>
                  <a:cubicBezTo>
                    <a:pt x="1596" y="2164"/>
                    <a:pt x="1545" y="2284"/>
                    <a:pt x="1793" y="2284"/>
                  </a:cubicBezTo>
                  <a:cubicBezTo>
                    <a:pt x="2048" y="2284"/>
                    <a:pt x="2131" y="2202"/>
                    <a:pt x="2131" y="2202"/>
                  </a:cubicBezTo>
                  <a:cubicBezTo>
                    <a:pt x="2131" y="2202"/>
                    <a:pt x="2232" y="2043"/>
                    <a:pt x="2328" y="2004"/>
                  </a:cubicBezTo>
                  <a:cubicBezTo>
                    <a:pt x="2423" y="1966"/>
                    <a:pt x="2735" y="1756"/>
                    <a:pt x="2735" y="1756"/>
                  </a:cubicBezTo>
                  <a:cubicBezTo>
                    <a:pt x="2735" y="1756"/>
                    <a:pt x="2633" y="1686"/>
                    <a:pt x="2735" y="1584"/>
                  </a:cubicBezTo>
                  <a:cubicBezTo>
                    <a:pt x="2837" y="1483"/>
                    <a:pt x="3098" y="1342"/>
                    <a:pt x="3034" y="1285"/>
                  </a:cubicBezTo>
                  <a:cubicBezTo>
                    <a:pt x="2984" y="1234"/>
                    <a:pt x="2843" y="1094"/>
                    <a:pt x="2863" y="833"/>
                  </a:cubicBezTo>
                  <a:cubicBezTo>
                    <a:pt x="2691" y="814"/>
                    <a:pt x="2379" y="337"/>
                    <a:pt x="2379" y="337"/>
                  </a:cubicBezTo>
                  <a:cubicBezTo>
                    <a:pt x="2213" y="337"/>
                    <a:pt x="1621" y="477"/>
                    <a:pt x="1590" y="318"/>
                  </a:cubicBezTo>
                  <a:cubicBezTo>
                    <a:pt x="1564" y="165"/>
                    <a:pt x="1323" y="184"/>
                    <a:pt x="891" y="184"/>
                  </a:cubicBezTo>
                  <a:cubicBezTo>
                    <a:pt x="591" y="184"/>
                    <a:pt x="604" y="89"/>
                    <a:pt x="617" y="0"/>
                  </a:cubicBezTo>
                  <a:cubicBezTo>
                    <a:pt x="0" y="331"/>
                    <a:pt x="273" y="738"/>
                    <a:pt x="235" y="700"/>
                  </a:cubicBezTo>
                  <a:cubicBezTo>
                    <a:pt x="235" y="700"/>
                    <a:pt x="413" y="884"/>
                    <a:pt x="413" y="1024"/>
                  </a:cubicBezTo>
                  <a:cubicBezTo>
                    <a:pt x="413" y="1164"/>
                    <a:pt x="547" y="1444"/>
                    <a:pt x="668" y="161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" name="Freeform 492"/>
            <p:cNvSpPr>
              <a:spLocks noChangeArrowheads="1"/>
            </p:cNvSpPr>
            <p:nvPr/>
          </p:nvSpPr>
          <p:spPr bwMode="auto">
            <a:xfrm>
              <a:off x="15104512" y="5156983"/>
              <a:ext cx="2265" cy="2265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" name="Freeform 493"/>
            <p:cNvSpPr>
              <a:spLocks noChangeArrowheads="1"/>
            </p:cNvSpPr>
            <p:nvPr/>
          </p:nvSpPr>
          <p:spPr bwMode="auto">
            <a:xfrm>
              <a:off x="13041577" y="6966417"/>
              <a:ext cx="1877248" cy="2140067"/>
            </a:xfrm>
            <a:custGeom>
              <a:avLst/>
              <a:gdLst>
                <a:gd name="T0" fmla="*/ 904 w 3654"/>
                <a:gd name="T1" fmla="*/ 3589 h 4169"/>
                <a:gd name="T2" fmla="*/ 904 w 3654"/>
                <a:gd name="T3" fmla="*/ 3589 h 4169"/>
                <a:gd name="T4" fmla="*/ 1457 w 3654"/>
                <a:gd name="T5" fmla="*/ 4003 h 4169"/>
                <a:gd name="T6" fmla="*/ 1814 w 3654"/>
                <a:gd name="T7" fmla="*/ 4085 h 4169"/>
                <a:gd name="T8" fmla="*/ 2011 w 3654"/>
                <a:gd name="T9" fmla="*/ 3831 h 4169"/>
                <a:gd name="T10" fmla="*/ 2355 w 3654"/>
                <a:gd name="T11" fmla="*/ 3404 h 4169"/>
                <a:gd name="T12" fmla="*/ 2820 w 3654"/>
                <a:gd name="T13" fmla="*/ 2895 h 4169"/>
                <a:gd name="T14" fmla="*/ 3036 w 3654"/>
                <a:gd name="T15" fmla="*/ 2571 h 4169"/>
                <a:gd name="T16" fmla="*/ 3170 w 3654"/>
                <a:gd name="T17" fmla="*/ 2272 h 4169"/>
                <a:gd name="T18" fmla="*/ 3055 w 3654"/>
                <a:gd name="T19" fmla="*/ 1871 h 4169"/>
                <a:gd name="T20" fmla="*/ 3653 w 3654"/>
                <a:gd name="T21" fmla="*/ 1509 h 4169"/>
                <a:gd name="T22" fmla="*/ 3310 w 3654"/>
                <a:gd name="T23" fmla="*/ 1159 h 4169"/>
                <a:gd name="T24" fmla="*/ 2845 w 3654"/>
                <a:gd name="T25" fmla="*/ 351 h 4169"/>
                <a:gd name="T26" fmla="*/ 2457 w 3654"/>
                <a:gd name="T27" fmla="*/ 414 h 4169"/>
                <a:gd name="T28" fmla="*/ 2018 w 3654"/>
                <a:gd name="T29" fmla="*/ 0 h 4169"/>
                <a:gd name="T30" fmla="*/ 2005 w 3654"/>
                <a:gd name="T31" fmla="*/ 20 h 4169"/>
                <a:gd name="T32" fmla="*/ 1426 w 3654"/>
                <a:gd name="T33" fmla="*/ 77 h 4169"/>
                <a:gd name="T34" fmla="*/ 1018 w 3654"/>
                <a:gd name="T35" fmla="*/ 236 h 4169"/>
                <a:gd name="T36" fmla="*/ 808 w 3654"/>
                <a:gd name="T37" fmla="*/ 376 h 4169"/>
                <a:gd name="T38" fmla="*/ 974 w 3654"/>
                <a:gd name="T39" fmla="*/ 1712 h 4169"/>
                <a:gd name="T40" fmla="*/ 477 w 3654"/>
                <a:gd name="T41" fmla="*/ 1496 h 4169"/>
                <a:gd name="T42" fmla="*/ 286 w 3654"/>
                <a:gd name="T43" fmla="*/ 1559 h 4169"/>
                <a:gd name="T44" fmla="*/ 115 w 3654"/>
                <a:gd name="T45" fmla="*/ 1820 h 4169"/>
                <a:gd name="T46" fmla="*/ 210 w 3654"/>
                <a:gd name="T47" fmla="*/ 1883 h 4169"/>
                <a:gd name="T48" fmla="*/ 337 w 3654"/>
                <a:gd name="T49" fmla="*/ 2093 h 4169"/>
                <a:gd name="T50" fmla="*/ 293 w 3654"/>
                <a:gd name="T51" fmla="*/ 2195 h 4169"/>
                <a:gd name="T52" fmla="*/ 331 w 3654"/>
                <a:gd name="T53" fmla="*/ 2361 h 4169"/>
                <a:gd name="T54" fmla="*/ 210 w 3654"/>
                <a:gd name="T55" fmla="*/ 2539 h 4169"/>
                <a:gd name="T56" fmla="*/ 76 w 3654"/>
                <a:gd name="T57" fmla="*/ 2628 h 4169"/>
                <a:gd name="T58" fmla="*/ 108 w 3654"/>
                <a:gd name="T59" fmla="*/ 2819 h 4169"/>
                <a:gd name="T60" fmla="*/ 223 w 3654"/>
                <a:gd name="T61" fmla="*/ 2927 h 4169"/>
                <a:gd name="T62" fmla="*/ 363 w 3654"/>
                <a:gd name="T63" fmla="*/ 2978 h 4169"/>
                <a:gd name="T64" fmla="*/ 904 w 3654"/>
                <a:gd name="T65" fmla="*/ 3589 h 4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54" h="4169">
                  <a:moveTo>
                    <a:pt x="904" y="3589"/>
                  </a:moveTo>
                  <a:lnTo>
                    <a:pt x="904" y="3589"/>
                  </a:lnTo>
                  <a:cubicBezTo>
                    <a:pt x="904" y="3589"/>
                    <a:pt x="1318" y="3723"/>
                    <a:pt x="1457" y="4003"/>
                  </a:cubicBezTo>
                  <a:cubicBezTo>
                    <a:pt x="1457" y="4003"/>
                    <a:pt x="1731" y="4168"/>
                    <a:pt x="1814" y="4085"/>
                  </a:cubicBezTo>
                  <a:cubicBezTo>
                    <a:pt x="1897" y="4003"/>
                    <a:pt x="1878" y="3831"/>
                    <a:pt x="2011" y="3831"/>
                  </a:cubicBezTo>
                  <a:cubicBezTo>
                    <a:pt x="2145" y="3831"/>
                    <a:pt x="2317" y="3595"/>
                    <a:pt x="2355" y="3404"/>
                  </a:cubicBezTo>
                  <a:cubicBezTo>
                    <a:pt x="2393" y="3214"/>
                    <a:pt x="2820" y="3042"/>
                    <a:pt x="2820" y="2895"/>
                  </a:cubicBezTo>
                  <a:cubicBezTo>
                    <a:pt x="2820" y="2749"/>
                    <a:pt x="2966" y="2641"/>
                    <a:pt x="3036" y="2571"/>
                  </a:cubicBezTo>
                  <a:cubicBezTo>
                    <a:pt x="3106" y="2501"/>
                    <a:pt x="3233" y="2335"/>
                    <a:pt x="3170" y="2272"/>
                  </a:cubicBezTo>
                  <a:cubicBezTo>
                    <a:pt x="3106" y="2208"/>
                    <a:pt x="3004" y="1992"/>
                    <a:pt x="3055" y="1871"/>
                  </a:cubicBezTo>
                  <a:cubicBezTo>
                    <a:pt x="3106" y="1750"/>
                    <a:pt x="3653" y="1509"/>
                    <a:pt x="3653" y="1509"/>
                  </a:cubicBezTo>
                  <a:cubicBezTo>
                    <a:pt x="3653" y="1509"/>
                    <a:pt x="3609" y="1210"/>
                    <a:pt x="3310" y="1159"/>
                  </a:cubicBezTo>
                  <a:cubicBezTo>
                    <a:pt x="3310" y="1159"/>
                    <a:pt x="3017" y="351"/>
                    <a:pt x="2845" y="351"/>
                  </a:cubicBezTo>
                  <a:cubicBezTo>
                    <a:pt x="2673" y="351"/>
                    <a:pt x="2622" y="516"/>
                    <a:pt x="2457" y="414"/>
                  </a:cubicBezTo>
                  <a:cubicBezTo>
                    <a:pt x="2317" y="325"/>
                    <a:pt x="2215" y="71"/>
                    <a:pt x="2018" y="0"/>
                  </a:cubicBezTo>
                  <a:cubicBezTo>
                    <a:pt x="2018" y="7"/>
                    <a:pt x="2011" y="13"/>
                    <a:pt x="2005" y="20"/>
                  </a:cubicBezTo>
                  <a:cubicBezTo>
                    <a:pt x="1801" y="223"/>
                    <a:pt x="1668" y="77"/>
                    <a:pt x="1426" y="77"/>
                  </a:cubicBezTo>
                  <a:cubicBezTo>
                    <a:pt x="1184" y="77"/>
                    <a:pt x="1267" y="236"/>
                    <a:pt x="1018" y="236"/>
                  </a:cubicBezTo>
                  <a:cubicBezTo>
                    <a:pt x="770" y="236"/>
                    <a:pt x="808" y="376"/>
                    <a:pt x="808" y="376"/>
                  </a:cubicBezTo>
                  <a:cubicBezTo>
                    <a:pt x="1171" y="968"/>
                    <a:pt x="1108" y="1712"/>
                    <a:pt x="974" y="1712"/>
                  </a:cubicBezTo>
                  <a:cubicBezTo>
                    <a:pt x="840" y="1712"/>
                    <a:pt x="617" y="1496"/>
                    <a:pt x="477" y="1496"/>
                  </a:cubicBezTo>
                  <a:cubicBezTo>
                    <a:pt x="414" y="1496"/>
                    <a:pt x="337" y="1528"/>
                    <a:pt x="286" y="1559"/>
                  </a:cubicBezTo>
                  <a:cubicBezTo>
                    <a:pt x="299" y="1616"/>
                    <a:pt x="115" y="1763"/>
                    <a:pt x="115" y="1820"/>
                  </a:cubicBezTo>
                  <a:cubicBezTo>
                    <a:pt x="115" y="1877"/>
                    <a:pt x="166" y="1871"/>
                    <a:pt x="210" y="1883"/>
                  </a:cubicBezTo>
                  <a:cubicBezTo>
                    <a:pt x="248" y="1896"/>
                    <a:pt x="337" y="2049"/>
                    <a:pt x="337" y="2093"/>
                  </a:cubicBezTo>
                  <a:cubicBezTo>
                    <a:pt x="337" y="2132"/>
                    <a:pt x="293" y="2125"/>
                    <a:pt x="293" y="2195"/>
                  </a:cubicBezTo>
                  <a:cubicBezTo>
                    <a:pt x="293" y="2265"/>
                    <a:pt x="363" y="2259"/>
                    <a:pt x="331" y="2361"/>
                  </a:cubicBezTo>
                  <a:cubicBezTo>
                    <a:pt x="299" y="2456"/>
                    <a:pt x="210" y="2488"/>
                    <a:pt x="210" y="2539"/>
                  </a:cubicBezTo>
                  <a:cubicBezTo>
                    <a:pt x="210" y="2590"/>
                    <a:pt x="115" y="2628"/>
                    <a:pt x="76" y="2628"/>
                  </a:cubicBezTo>
                  <a:cubicBezTo>
                    <a:pt x="38" y="2628"/>
                    <a:pt x="0" y="2787"/>
                    <a:pt x="108" y="2819"/>
                  </a:cubicBezTo>
                  <a:cubicBezTo>
                    <a:pt x="159" y="2838"/>
                    <a:pt x="197" y="2883"/>
                    <a:pt x="223" y="2927"/>
                  </a:cubicBezTo>
                  <a:cubicBezTo>
                    <a:pt x="280" y="2934"/>
                    <a:pt x="337" y="2946"/>
                    <a:pt x="363" y="2978"/>
                  </a:cubicBezTo>
                  <a:cubicBezTo>
                    <a:pt x="427" y="3042"/>
                    <a:pt x="840" y="3303"/>
                    <a:pt x="904" y="358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" name="Freeform 494"/>
            <p:cNvSpPr>
              <a:spLocks noChangeArrowheads="1"/>
            </p:cNvSpPr>
            <p:nvPr/>
          </p:nvSpPr>
          <p:spPr bwMode="auto">
            <a:xfrm>
              <a:off x="14488575" y="7691096"/>
              <a:ext cx="1415297" cy="1555794"/>
            </a:xfrm>
            <a:custGeom>
              <a:avLst/>
              <a:gdLst>
                <a:gd name="T0" fmla="*/ 954 w 2755"/>
                <a:gd name="T1" fmla="*/ 2596 h 3030"/>
                <a:gd name="T2" fmla="*/ 954 w 2755"/>
                <a:gd name="T3" fmla="*/ 2596 h 3030"/>
                <a:gd name="T4" fmla="*/ 1336 w 2755"/>
                <a:gd name="T5" fmla="*/ 2876 h 3030"/>
                <a:gd name="T6" fmla="*/ 1992 w 2755"/>
                <a:gd name="T7" fmla="*/ 2984 h 3030"/>
                <a:gd name="T8" fmla="*/ 2157 w 2755"/>
                <a:gd name="T9" fmla="*/ 2443 h 3030"/>
                <a:gd name="T10" fmla="*/ 2608 w 2755"/>
                <a:gd name="T11" fmla="*/ 2030 h 3030"/>
                <a:gd name="T12" fmla="*/ 2608 w 2755"/>
                <a:gd name="T13" fmla="*/ 1495 h 3030"/>
                <a:gd name="T14" fmla="*/ 2678 w 2755"/>
                <a:gd name="T15" fmla="*/ 967 h 3030"/>
                <a:gd name="T16" fmla="*/ 2608 w 2755"/>
                <a:gd name="T17" fmla="*/ 407 h 3030"/>
                <a:gd name="T18" fmla="*/ 2189 w 2755"/>
                <a:gd name="T19" fmla="*/ 77 h 3030"/>
                <a:gd name="T20" fmla="*/ 1387 w 2755"/>
                <a:gd name="T21" fmla="*/ 115 h 3030"/>
                <a:gd name="T22" fmla="*/ 1126 w 2755"/>
                <a:gd name="T23" fmla="*/ 178 h 3030"/>
                <a:gd name="T24" fmla="*/ 833 w 2755"/>
                <a:gd name="T25" fmla="*/ 96 h 3030"/>
                <a:gd name="T26" fmla="*/ 235 w 2755"/>
                <a:gd name="T27" fmla="*/ 458 h 3030"/>
                <a:gd name="T28" fmla="*/ 350 w 2755"/>
                <a:gd name="T29" fmla="*/ 859 h 3030"/>
                <a:gd name="T30" fmla="*/ 216 w 2755"/>
                <a:gd name="T31" fmla="*/ 1158 h 3030"/>
                <a:gd name="T32" fmla="*/ 0 w 2755"/>
                <a:gd name="T33" fmla="*/ 1482 h 3030"/>
                <a:gd name="T34" fmla="*/ 0 w 2755"/>
                <a:gd name="T35" fmla="*/ 1489 h 3030"/>
                <a:gd name="T36" fmla="*/ 935 w 2755"/>
                <a:gd name="T37" fmla="*/ 2106 h 3030"/>
                <a:gd name="T38" fmla="*/ 954 w 2755"/>
                <a:gd name="T39" fmla="*/ 2596 h 3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55" h="3030">
                  <a:moveTo>
                    <a:pt x="954" y="2596"/>
                  </a:moveTo>
                  <a:lnTo>
                    <a:pt x="954" y="2596"/>
                  </a:lnTo>
                  <a:cubicBezTo>
                    <a:pt x="1005" y="2813"/>
                    <a:pt x="1253" y="2793"/>
                    <a:pt x="1336" y="2876"/>
                  </a:cubicBezTo>
                  <a:cubicBezTo>
                    <a:pt x="1419" y="2959"/>
                    <a:pt x="1813" y="3029"/>
                    <a:pt x="1992" y="2984"/>
                  </a:cubicBezTo>
                  <a:cubicBezTo>
                    <a:pt x="2170" y="2940"/>
                    <a:pt x="2157" y="2520"/>
                    <a:pt x="2157" y="2443"/>
                  </a:cubicBezTo>
                  <a:cubicBezTo>
                    <a:pt x="2157" y="2367"/>
                    <a:pt x="2532" y="2106"/>
                    <a:pt x="2608" y="2030"/>
                  </a:cubicBezTo>
                  <a:cubicBezTo>
                    <a:pt x="2684" y="1947"/>
                    <a:pt x="2608" y="1603"/>
                    <a:pt x="2608" y="1495"/>
                  </a:cubicBezTo>
                  <a:cubicBezTo>
                    <a:pt x="2608" y="1387"/>
                    <a:pt x="2608" y="1126"/>
                    <a:pt x="2678" y="967"/>
                  </a:cubicBezTo>
                  <a:cubicBezTo>
                    <a:pt x="2754" y="808"/>
                    <a:pt x="2608" y="407"/>
                    <a:pt x="2608" y="407"/>
                  </a:cubicBezTo>
                  <a:cubicBezTo>
                    <a:pt x="2423" y="407"/>
                    <a:pt x="2348" y="152"/>
                    <a:pt x="2189" y="77"/>
                  </a:cubicBezTo>
                  <a:cubicBezTo>
                    <a:pt x="2030" y="0"/>
                    <a:pt x="1584" y="77"/>
                    <a:pt x="1387" y="115"/>
                  </a:cubicBezTo>
                  <a:cubicBezTo>
                    <a:pt x="1190" y="152"/>
                    <a:pt x="1222" y="178"/>
                    <a:pt x="1126" y="178"/>
                  </a:cubicBezTo>
                  <a:cubicBezTo>
                    <a:pt x="1030" y="178"/>
                    <a:pt x="833" y="96"/>
                    <a:pt x="833" y="96"/>
                  </a:cubicBezTo>
                  <a:cubicBezTo>
                    <a:pt x="833" y="96"/>
                    <a:pt x="286" y="337"/>
                    <a:pt x="235" y="458"/>
                  </a:cubicBezTo>
                  <a:cubicBezTo>
                    <a:pt x="184" y="579"/>
                    <a:pt x="286" y="795"/>
                    <a:pt x="350" y="859"/>
                  </a:cubicBezTo>
                  <a:cubicBezTo>
                    <a:pt x="413" y="922"/>
                    <a:pt x="286" y="1088"/>
                    <a:pt x="216" y="1158"/>
                  </a:cubicBezTo>
                  <a:cubicBezTo>
                    <a:pt x="146" y="1228"/>
                    <a:pt x="0" y="1336"/>
                    <a:pt x="0" y="1482"/>
                  </a:cubicBezTo>
                  <a:lnTo>
                    <a:pt x="0" y="1489"/>
                  </a:lnTo>
                  <a:cubicBezTo>
                    <a:pt x="375" y="1559"/>
                    <a:pt x="852" y="2017"/>
                    <a:pt x="935" y="2106"/>
                  </a:cubicBezTo>
                  <a:cubicBezTo>
                    <a:pt x="1030" y="2202"/>
                    <a:pt x="903" y="2380"/>
                    <a:pt x="954" y="259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1" name="Freeform 495"/>
            <p:cNvSpPr>
              <a:spLocks noChangeArrowheads="1"/>
            </p:cNvSpPr>
            <p:nvPr/>
          </p:nvSpPr>
          <p:spPr bwMode="auto">
            <a:xfrm>
              <a:off x="12554713" y="8456538"/>
              <a:ext cx="2572444" cy="3007418"/>
            </a:xfrm>
            <a:custGeom>
              <a:avLst/>
              <a:gdLst>
                <a:gd name="T0" fmla="*/ 2806 w 5010"/>
                <a:gd name="T1" fmla="*/ 4544 h 5856"/>
                <a:gd name="T2" fmla="*/ 2806 w 5010"/>
                <a:gd name="T3" fmla="*/ 4544 h 5856"/>
                <a:gd name="T4" fmla="*/ 2616 w 5010"/>
                <a:gd name="T5" fmla="*/ 4226 h 5856"/>
                <a:gd name="T6" fmla="*/ 2476 w 5010"/>
                <a:gd name="T7" fmla="*/ 3876 h 5856"/>
                <a:gd name="T8" fmla="*/ 2635 w 5010"/>
                <a:gd name="T9" fmla="*/ 3462 h 5856"/>
                <a:gd name="T10" fmla="*/ 2794 w 5010"/>
                <a:gd name="T11" fmla="*/ 3564 h 5856"/>
                <a:gd name="T12" fmla="*/ 3112 w 5010"/>
                <a:gd name="T13" fmla="*/ 3430 h 5856"/>
                <a:gd name="T14" fmla="*/ 3570 w 5010"/>
                <a:gd name="T15" fmla="*/ 3341 h 5856"/>
                <a:gd name="T16" fmla="*/ 3907 w 5010"/>
                <a:gd name="T17" fmla="*/ 3265 h 5856"/>
                <a:gd name="T18" fmla="*/ 4149 w 5010"/>
                <a:gd name="T19" fmla="*/ 2965 h 5856"/>
                <a:gd name="T20" fmla="*/ 4118 w 5010"/>
                <a:gd name="T21" fmla="*/ 2749 h 5856"/>
                <a:gd name="T22" fmla="*/ 4442 w 5010"/>
                <a:gd name="T23" fmla="*/ 2711 h 5856"/>
                <a:gd name="T24" fmla="*/ 4270 w 5010"/>
                <a:gd name="T25" fmla="*/ 2354 h 5856"/>
                <a:gd name="T26" fmla="*/ 4798 w 5010"/>
                <a:gd name="T27" fmla="*/ 1826 h 5856"/>
                <a:gd name="T28" fmla="*/ 4900 w 5010"/>
                <a:gd name="T29" fmla="*/ 1476 h 5856"/>
                <a:gd name="T30" fmla="*/ 5009 w 5010"/>
                <a:gd name="T31" fmla="*/ 1330 h 5856"/>
                <a:gd name="T32" fmla="*/ 4722 w 5010"/>
                <a:gd name="T33" fmla="*/ 1107 h 5856"/>
                <a:gd name="T34" fmla="*/ 4703 w 5010"/>
                <a:gd name="T35" fmla="*/ 617 h 5856"/>
                <a:gd name="T36" fmla="*/ 3768 w 5010"/>
                <a:gd name="T37" fmla="*/ 0 h 5856"/>
                <a:gd name="T38" fmla="*/ 3303 w 5010"/>
                <a:gd name="T39" fmla="*/ 502 h 5856"/>
                <a:gd name="T40" fmla="*/ 2959 w 5010"/>
                <a:gd name="T41" fmla="*/ 929 h 5856"/>
                <a:gd name="T42" fmla="*/ 2762 w 5010"/>
                <a:gd name="T43" fmla="*/ 1183 h 5856"/>
                <a:gd name="T44" fmla="*/ 2405 w 5010"/>
                <a:gd name="T45" fmla="*/ 1101 h 5856"/>
                <a:gd name="T46" fmla="*/ 1852 w 5010"/>
                <a:gd name="T47" fmla="*/ 687 h 5856"/>
                <a:gd name="T48" fmla="*/ 1311 w 5010"/>
                <a:gd name="T49" fmla="*/ 76 h 5856"/>
                <a:gd name="T50" fmla="*/ 1171 w 5010"/>
                <a:gd name="T51" fmla="*/ 25 h 5856"/>
                <a:gd name="T52" fmla="*/ 1184 w 5010"/>
                <a:gd name="T53" fmla="*/ 159 h 5856"/>
                <a:gd name="T54" fmla="*/ 1133 w 5010"/>
                <a:gd name="T55" fmla="*/ 471 h 5856"/>
                <a:gd name="T56" fmla="*/ 1088 w 5010"/>
                <a:gd name="T57" fmla="*/ 744 h 5856"/>
                <a:gd name="T58" fmla="*/ 1044 w 5010"/>
                <a:gd name="T59" fmla="*/ 1126 h 5856"/>
                <a:gd name="T60" fmla="*/ 916 w 5010"/>
                <a:gd name="T61" fmla="*/ 1998 h 5856"/>
                <a:gd name="T62" fmla="*/ 916 w 5010"/>
                <a:gd name="T63" fmla="*/ 2215 h 5856"/>
                <a:gd name="T64" fmla="*/ 611 w 5010"/>
                <a:gd name="T65" fmla="*/ 3799 h 5856"/>
                <a:gd name="T66" fmla="*/ 541 w 5010"/>
                <a:gd name="T67" fmla="*/ 4098 h 5856"/>
                <a:gd name="T68" fmla="*/ 426 w 5010"/>
                <a:gd name="T69" fmla="*/ 4251 h 5856"/>
                <a:gd name="T70" fmla="*/ 140 w 5010"/>
                <a:gd name="T71" fmla="*/ 4512 h 5856"/>
                <a:gd name="T72" fmla="*/ 51 w 5010"/>
                <a:gd name="T73" fmla="*/ 4601 h 5856"/>
                <a:gd name="T74" fmla="*/ 280 w 5010"/>
                <a:gd name="T75" fmla="*/ 4786 h 5856"/>
                <a:gd name="T76" fmla="*/ 522 w 5010"/>
                <a:gd name="T77" fmla="*/ 4779 h 5856"/>
                <a:gd name="T78" fmla="*/ 464 w 5010"/>
                <a:gd name="T79" fmla="*/ 5091 h 5856"/>
                <a:gd name="T80" fmla="*/ 604 w 5010"/>
                <a:gd name="T81" fmla="*/ 5219 h 5856"/>
                <a:gd name="T82" fmla="*/ 821 w 5010"/>
                <a:gd name="T83" fmla="*/ 5257 h 5856"/>
                <a:gd name="T84" fmla="*/ 1470 w 5010"/>
                <a:gd name="T85" fmla="*/ 5505 h 5856"/>
                <a:gd name="T86" fmla="*/ 2005 w 5010"/>
                <a:gd name="T87" fmla="*/ 5791 h 5856"/>
                <a:gd name="T88" fmla="*/ 2259 w 5010"/>
                <a:gd name="T89" fmla="*/ 5798 h 5856"/>
                <a:gd name="T90" fmla="*/ 2647 w 5010"/>
                <a:gd name="T91" fmla="*/ 4970 h 5856"/>
                <a:gd name="T92" fmla="*/ 2806 w 5010"/>
                <a:gd name="T93" fmla="*/ 4544 h 5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10" h="5856">
                  <a:moveTo>
                    <a:pt x="2806" y="4544"/>
                  </a:moveTo>
                  <a:lnTo>
                    <a:pt x="2806" y="4544"/>
                  </a:lnTo>
                  <a:cubicBezTo>
                    <a:pt x="2806" y="4442"/>
                    <a:pt x="2616" y="4226"/>
                    <a:pt x="2616" y="4226"/>
                  </a:cubicBezTo>
                  <a:cubicBezTo>
                    <a:pt x="2291" y="4353"/>
                    <a:pt x="2405" y="3946"/>
                    <a:pt x="2476" y="3876"/>
                  </a:cubicBezTo>
                  <a:cubicBezTo>
                    <a:pt x="2552" y="3799"/>
                    <a:pt x="2577" y="3462"/>
                    <a:pt x="2635" y="3462"/>
                  </a:cubicBezTo>
                  <a:cubicBezTo>
                    <a:pt x="2692" y="3462"/>
                    <a:pt x="2730" y="3564"/>
                    <a:pt x="2794" y="3564"/>
                  </a:cubicBezTo>
                  <a:cubicBezTo>
                    <a:pt x="2857" y="3564"/>
                    <a:pt x="3029" y="3430"/>
                    <a:pt x="3112" y="3430"/>
                  </a:cubicBezTo>
                  <a:cubicBezTo>
                    <a:pt x="3195" y="3430"/>
                    <a:pt x="3507" y="3341"/>
                    <a:pt x="3570" y="3341"/>
                  </a:cubicBezTo>
                  <a:cubicBezTo>
                    <a:pt x="3634" y="3341"/>
                    <a:pt x="3831" y="3341"/>
                    <a:pt x="3907" y="3265"/>
                  </a:cubicBezTo>
                  <a:cubicBezTo>
                    <a:pt x="3990" y="3182"/>
                    <a:pt x="4092" y="3080"/>
                    <a:pt x="4149" y="2965"/>
                  </a:cubicBezTo>
                  <a:cubicBezTo>
                    <a:pt x="4207" y="2851"/>
                    <a:pt x="4060" y="2876"/>
                    <a:pt x="4118" y="2749"/>
                  </a:cubicBezTo>
                  <a:cubicBezTo>
                    <a:pt x="4175" y="2622"/>
                    <a:pt x="4372" y="2781"/>
                    <a:pt x="4442" y="2711"/>
                  </a:cubicBezTo>
                  <a:cubicBezTo>
                    <a:pt x="4518" y="2634"/>
                    <a:pt x="4308" y="2475"/>
                    <a:pt x="4270" y="2354"/>
                  </a:cubicBezTo>
                  <a:cubicBezTo>
                    <a:pt x="4232" y="2233"/>
                    <a:pt x="4697" y="1928"/>
                    <a:pt x="4798" y="1826"/>
                  </a:cubicBezTo>
                  <a:cubicBezTo>
                    <a:pt x="4900" y="1724"/>
                    <a:pt x="4900" y="1578"/>
                    <a:pt x="4900" y="1476"/>
                  </a:cubicBezTo>
                  <a:cubicBezTo>
                    <a:pt x="4900" y="1425"/>
                    <a:pt x="4958" y="1374"/>
                    <a:pt x="5009" y="1330"/>
                  </a:cubicBezTo>
                  <a:cubicBezTo>
                    <a:pt x="4900" y="1298"/>
                    <a:pt x="4760" y="1260"/>
                    <a:pt x="4722" y="1107"/>
                  </a:cubicBezTo>
                  <a:cubicBezTo>
                    <a:pt x="4671" y="891"/>
                    <a:pt x="4798" y="713"/>
                    <a:pt x="4703" y="617"/>
                  </a:cubicBezTo>
                  <a:cubicBezTo>
                    <a:pt x="4620" y="528"/>
                    <a:pt x="4143" y="70"/>
                    <a:pt x="3768" y="0"/>
                  </a:cubicBezTo>
                  <a:cubicBezTo>
                    <a:pt x="3755" y="146"/>
                    <a:pt x="3341" y="312"/>
                    <a:pt x="3303" y="502"/>
                  </a:cubicBezTo>
                  <a:cubicBezTo>
                    <a:pt x="3265" y="693"/>
                    <a:pt x="3093" y="929"/>
                    <a:pt x="2959" y="929"/>
                  </a:cubicBezTo>
                  <a:cubicBezTo>
                    <a:pt x="2826" y="929"/>
                    <a:pt x="2845" y="1101"/>
                    <a:pt x="2762" y="1183"/>
                  </a:cubicBezTo>
                  <a:cubicBezTo>
                    <a:pt x="2679" y="1266"/>
                    <a:pt x="2405" y="1101"/>
                    <a:pt x="2405" y="1101"/>
                  </a:cubicBezTo>
                  <a:cubicBezTo>
                    <a:pt x="2266" y="821"/>
                    <a:pt x="1852" y="687"/>
                    <a:pt x="1852" y="687"/>
                  </a:cubicBezTo>
                  <a:cubicBezTo>
                    <a:pt x="1788" y="401"/>
                    <a:pt x="1375" y="140"/>
                    <a:pt x="1311" y="76"/>
                  </a:cubicBezTo>
                  <a:cubicBezTo>
                    <a:pt x="1285" y="44"/>
                    <a:pt x="1228" y="32"/>
                    <a:pt x="1171" y="25"/>
                  </a:cubicBezTo>
                  <a:cubicBezTo>
                    <a:pt x="1196" y="82"/>
                    <a:pt x="1203" y="140"/>
                    <a:pt x="1184" y="159"/>
                  </a:cubicBezTo>
                  <a:cubicBezTo>
                    <a:pt x="1139" y="203"/>
                    <a:pt x="1158" y="394"/>
                    <a:pt x="1133" y="471"/>
                  </a:cubicBezTo>
                  <a:cubicBezTo>
                    <a:pt x="1114" y="547"/>
                    <a:pt x="1114" y="674"/>
                    <a:pt x="1088" y="744"/>
                  </a:cubicBezTo>
                  <a:cubicBezTo>
                    <a:pt x="1063" y="814"/>
                    <a:pt x="1044" y="1024"/>
                    <a:pt x="1044" y="1126"/>
                  </a:cubicBezTo>
                  <a:cubicBezTo>
                    <a:pt x="1044" y="1228"/>
                    <a:pt x="916" y="1935"/>
                    <a:pt x="916" y="1998"/>
                  </a:cubicBezTo>
                  <a:cubicBezTo>
                    <a:pt x="916" y="2062"/>
                    <a:pt x="916" y="2215"/>
                    <a:pt x="916" y="2215"/>
                  </a:cubicBezTo>
                  <a:cubicBezTo>
                    <a:pt x="916" y="2215"/>
                    <a:pt x="719" y="3666"/>
                    <a:pt x="611" y="3799"/>
                  </a:cubicBezTo>
                  <a:cubicBezTo>
                    <a:pt x="547" y="3876"/>
                    <a:pt x="566" y="4022"/>
                    <a:pt x="541" y="4098"/>
                  </a:cubicBezTo>
                  <a:cubicBezTo>
                    <a:pt x="515" y="4181"/>
                    <a:pt x="458" y="4168"/>
                    <a:pt x="426" y="4251"/>
                  </a:cubicBezTo>
                  <a:cubicBezTo>
                    <a:pt x="401" y="4334"/>
                    <a:pt x="242" y="4512"/>
                    <a:pt x="140" y="4512"/>
                  </a:cubicBezTo>
                  <a:cubicBezTo>
                    <a:pt x="38" y="4512"/>
                    <a:pt x="0" y="4582"/>
                    <a:pt x="51" y="4601"/>
                  </a:cubicBezTo>
                  <a:cubicBezTo>
                    <a:pt x="108" y="4614"/>
                    <a:pt x="229" y="4786"/>
                    <a:pt x="280" y="4786"/>
                  </a:cubicBezTo>
                  <a:cubicBezTo>
                    <a:pt x="331" y="4786"/>
                    <a:pt x="413" y="4703"/>
                    <a:pt x="522" y="4779"/>
                  </a:cubicBezTo>
                  <a:cubicBezTo>
                    <a:pt x="630" y="4856"/>
                    <a:pt x="579" y="4977"/>
                    <a:pt x="464" y="5091"/>
                  </a:cubicBezTo>
                  <a:cubicBezTo>
                    <a:pt x="350" y="5206"/>
                    <a:pt x="484" y="5219"/>
                    <a:pt x="604" y="5219"/>
                  </a:cubicBezTo>
                  <a:cubicBezTo>
                    <a:pt x="725" y="5219"/>
                    <a:pt x="821" y="5257"/>
                    <a:pt x="821" y="5257"/>
                  </a:cubicBezTo>
                  <a:cubicBezTo>
                    <a:pt x="1082" y="5473"/>
                    <a:pt x="1375" y="5409"/>
                    <a:pt x="1470" y="5505"/>
                  </a:cubicBezTo>
                  <a:cubicBezTo>
                    <a:pt x="1559" y="5594"/>
                    <a:pt x="1502" y="5855"/>
                    <a:pt x="2005" y="5791"/>
                  </a:cubicBezTo>
                  <a:cubicBezTo>
                    <a:pt x="2113" y="5779"/>
                    <a:pt x="2195" y="5785"/>
                    <a:pt x="2259" y="5798"/>
                  </a:cubicBezTo>
                  <a:cubicBezTo>
                    <a:pt x="2297" y="5530"/>
                    <a:pt x="2584" y="5091"/>
                    <a:pt x="2647" y="4970"/>
                  </a:cubicBezTo>
                  <a:cubicBezTo>
                    <a:pt x="2724" y="4830"/>
                    <a:pt x="2806" y="4646"/>
                    <a:pt x="2806" y="454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2" name="Freeform 496"/>
            <p:cNvSpPr>
              <a:spLocks noChangeArrowheads="1"/>
            </p:cNvSpPr>
            <p:nvPr/>
          </p:nvSpPr>
          <p:spPr bwMode="auto">
            <a:xfrm>
              <a:off x="13714125" y="9140455"/>
              <a:ext cx="2823800" cy="2622432"/>
            </a:xfrm>
            <a:custGeom>
              <a:avLst/>
              <a:gdLst>
                <a:gd name="T0" fmla="*/ 3774 w 5499"/>
                <a:gd name="T1" fmla="*/ 4748 h 5105"/>
                <a:gd name="T2" fmla="*/ 3774 w 5499"/>
                <a:gd name="T3" fmla="*/ 4748 h 5105"/>
                <a:gd name="T4" fmla="*/ 3602 w 5499"/>
                <a:gd name="T5" fmla="*/ 4633 h 5105"/>
                <a:gd name="T6" fmla="*/ 3310 w 5499"/>
                <a:gd name="T7" fmla="*/ 4455 h 5105"/>
                <a:gd name="T8" fmla="*/ 3431 w 5499"/>
                <a:gd name="T9" fmla="*/ 4277 h 5105"/>
                <a:gd name="T10" fmla="*/ 3081 w 5499"/>
                <a:gd name="T11" fmla="*/ 3717 h 5105"/>
                <a:gd name="T12" fmla="*/ 3221 w 5499"/>
                <a:gd name="T13" fmla="*/ 3309 h 5105"/>
                <a:gd name="T14" fmla="*/ 3781 w 5499"/>
                <a:gd name="T15" fmla="*/ 3303 h 5105"/>
                <a:gd name="T16" fmla="*/ 4206 w 5499"/>
                <a:gd name="T17" fmla="*/ 3303 h 5105"/>
                <a:gd name="T18" fmla="*/ 4371 w 5499"/>
                <a:gd name="T19" fmla="*/ 2966 h 5105"/>
                <a:gd name="T20" fmla="*/ 4429 w 5499"/>
                <a:gd name="T21" fmla="*/ 2832 h 5105"/>
                <a:gd name="T22" fmla="*/ 4957 w 5499"/>
                <a:gd name="T23" fmla="*/ 2590 h 5105"/>
                <a:gd name="T24" fmla="*/ 5193 w 5499"/>
                <a:gd name="T25" fmla="*/ 2469 h 5105"/>
                <a:gd name="T26" fmla="*/ 5498 w 5499"/>
                <a:gd name="T27" fmla="*/ 2056 h 5105"/>
                <a:gd name="T28" fmla="*/ 5358 w 5499"/>
                <a:gd name="T29" fmla="*/ 1794 h 5105"/>
                <a:gd name="T30" fmla="*/ 5059 w 5499"/>
                <a:gd name="T31" fmla="*/ 1368 h 5105"/>
                <a:gd name="T32" fmla="*/ 4881 w 5499"/>
                <a:gd name="T33" fmla="*/ 764 h 5105"/>
                <a:gd name="T34" fmla="*/ 4543 w 5499"/>
                <a:gd name="T35" fmla="*/ 375 h 5105"/>
                <a:gd name="T36" fmla="*/ 4499 w 5499"/>
                <a:gd name="T37" fmla="*/ 197 h 5105"/>
                <a:gd name="T38" fmla="*/ 4104 w 5499"/>
                <a:gd name="T39" fmla="*/ 643 h 5105"/>
                <a:gd name="T40" fmla="*/ 3863 w 5499"/>
                <a:gd name="T41" fmla="*/ 834 h 5105"/>
                <a:gd name="T42" fmla="*/ 3628 w 5499"/>
                <a:gd name="T43" fmla="*/ 725 h 5105"/>
                <a:gd name="T44" fmla="*/ 3564 w 5499"/>
                <a:gd name="T45" fmla="*/ 324 h 5105"/>
                <a:gd name="T46" fmla="*/ 3526 w 5499"/>
                <a:gd name="T47" fmla="*/ 153 h 5105"/>
                <a:gd name="T48" fmla="*/ 3501 w 5499"/>
                <a:gd name="T49" fmla="*/ 165 h 5105"/>
                <a:gd name="T50" fmla="*/ 2845 w 5499"/>
                <a:gd name="T51" fmla="*/ 57 h 5105"/>
                <a:gd name="T52" fmla="*/ 2750 w 5499"/>
                <a:gd name="T53" fmla="*/ 0 h 5105"/>
                <a:gd name="T54" fmla="*/ 2641 w 5499"/>
                <a:gd name="T55" fmla="*/ 146 h 5105"/>
                <a:gd name="T56" fmla="*/ 2539 w 5499"/>
                <a:gd name="T57" fmla="*/ 496 h 5105"/>
                <a:gd name="T58" fmla="*/ 2011 w 5499"/>
                <a:gd name="T59" fmla="*/ 1024 h 5105"/>
                <a:gd name="T60" fmla="*/ 2183 w 5499"/>
                <a:gd name="T61" fmla="*/ 1381 h 5105"/>
                <a:gd name="T62" fmla="*/ 1859 w 5499"/>
                <a:gd name="T63" fmla="*/ 1419 h 5105"/>
                <a:gd name="T64" fmla="*/ 1890 w 5499"/>
                <a:gd name="T65" fmla="*/ 1635 h 5105"/>
                <a:gd name="T66" fmla="*/ 1648 w 5499"/>
                <a:gd name="T67" fmla="*/ 1935 h 5105"/>
                <a:gd name="T68" fmla="*/ 1311 w 5499"/>
                <a:gd name="T69" fmla="*/ 2011 h 5105"/>
                <a:gd name="T70" fmla="*/ 853 w 5499"/>
                <a:gd name="T71" fmla="*/ 2100 h 5105"/>
                <a:gd name="T72" fmla="*/ 535 w 5499"/>
                <a:gd name="T73" fmla="*/ 2234 h 5105"/>
                <a:gd name="T74" fmla="*/ 376 w 5499"/>
                <a:gd name="T75" fmla="*/ 2132 h 5105"/>
                <a:gd name="T76" fmla="*/ 217 w 5499"/>
                <a:gd name="T77" fmla="*/ 2546 h 5105"/>
                <a:gd name="T78" fmla="*/ 357 w 5499"/>
                <a:gd name="T79" fmla="*/ 2896 h 5105"/>
                <a:gd name="T80" fmla="*/ 547 w 5499"/>
                <a:gd name="T81" fmla="*/ 3214 h 5105"/>
                <a:gd name="T82" fmla="*/ 388 w 5499"/>
                <a:gd name="T83" fmla="*/ 3640 h 5105"/>
                <a:gd name="T84" fmla="*/ 0 w 5499"/>
                <a:gd name="T85" fmla="*/ 4468 h 5105"/>
                <a:gd name="T86" fmla="*/ 331 w 5499"/>
                <a:gd name="T87" fmla="*/ 4678 h 5105"/>
                <a:gd name="T88" fmla="*/ 1088 w 5499"/>
                <a:gd name="T89" fmla="*/ 4754 h 5105"/>
                <a:gd name="T90" fmla="*/ 1343 w 5499"/>
                <a:gd name="T91" fmla="*/ 4449 h 5105"/>
                <a:gd name="T92" fmla="*/ 2037 w 5499"/>
                <a:gd name="T93" fmla="*/ 4671 h 5105"/>
                <a:gd name="T94" fmla="*/ 2450 w 5499"/>
                <a:gd name="T95" fmla="*/ 4786 h 5105"/>
                <a:gd name="T96" fmla="*/ 2807 w 5499"/>
                <a:gd name="T97" fmla="*/ 4881 h 5105"/>
                <a:gd name="T98" fmla="*/ 2928 w 5499"/>
                <a:gd name="T99" fmla="*/ 5091 h 5105"/>
                <a:gd name="T100" fmla="*/ 2979 w 5499"/>
                <a:gd name="T101" fmla="*/ 5104 h 5105"/>
                <a:gd name="T102" fmla="*/ 3437 w 5499"/>
                <a:gd name="T103" fmla="*/ 4805 h 5105"/>
                <a:gd name="T104" fmla="*/ 3774 w 5499"/>
                <a:gd name="T105" fmla="*/ 4748 h 5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499" h="5105">
                  <a:moveTo>
                    <a:pt x="3774" y="4748"/>
                  </a:moveTo>
                  <a:lnTo>
                    <a:pt x="3774" y="4748"/>
                  </a:lnTo>
                  <a:cubicBezTo>
                    <a:pt x="3774" y="4748"/>
                    <a:pt x="3711" y="4690"/>
                    <a:pt x="3602" y="4633"/>
                  </a:cubicBezTo>
                  <a:cubicBezTo>
                    <a:pt x="3494" y="4576"/>
                    <a:pt x="3310" y="4525"/>
                    <a:pt x="3310" y="4455"/>
                  </a:cubicBezTo>
                  <a:cubicBezTo>
                    <a:pt x="3310" y="4385"/>
                    <a:pt x="3431" y="4277"/>
                    <a:pt x="3431" y="4277"/>
                  </a:cubicBezTo>
                  <a:cubicBezTo>
                    <a:pt x="3507" y="3882"/>
                    <a:pt x="3240" y="3876"/>
                    <a:pt x="3081" y="3717"/>
                  </a:cubicBezTo>
                  <a:cubicBezTo>
                    <a:pt x="2921" y="3558"/>
                    <a:pt x="3081" y="3309"/>
                    <a:pt x="3221" y="3309"/>
                  </a:cubicBezTo>
                  <a:cubicBezTo>
                    <a:pt x="3361" y="3309"/>
                    <a:pt x="3609" y="3373"/>
                    <a:pt x="3781" y="3303"/>
                  </a:cubicBezTo>
                  <a:cubicBezTo>
                    <a:pt x="3952" y="3233"/>
                    <a:pt x="3996" y="3303"/>
                    <a:pt x="4206" y="3303"/>
                  </a:cubicBezTo>
                  <a:cubicBezTo>
                    <a:pt x="4422" y="3303"/>
                    <a:pt x="4371" y="3036"/>
                    <a:pt x="4371" y="2966"/>
                  </a:cubicBezTo>
                  <a:cubicBezTo>
                    <a:pt x="4371" y="2896"/>
                    <a:pt x="4429" y="2832"/>
                    <a:pt x="4429" y="2832"/>
                  </a:cubicBezTo>
                  <a:cubicBezTo>
                    <a:pt x="4760" y="2832"/>
                    <a:pt x="4957" y="2667"/>
                    <a:pt x="4957" y="2590"/>
                  </a:cubicBezTo>
                  <a:cubicBezTo>
                    <a:pt x="4957" y="2520"/>
                    <a:pt x="5052" y="2501"/>
                    <a:pt x="5193" y="2469"/>
                  </a:cubicBezTo>
                  <a:cubicBezTo>
                    <a:pt x="5333" y="2437"/>
                    <a:pt x="5498" y="2056"/>
                    <a:pt x="5498" y="2056"/>
                  </a:cubicBezTo>
                  <a:cubicBezTo>
                    <a:pt x="5313" y="1998"/>
                    <a:pt x="5358" y="1794"/>
                    <a:pt x="5358" y="1794"/>
                  </a:cubicBezTo>
                  <a:cubicBezTo>
                    <a:pt x="5275" y="1794"/>
                    <a:pt x="5059" y="1610"/>
                    <a:pt x="5059" y="1368"/>
                  </a:cubicBezTo>
                  <a:cubicBezTo>
                    <a:pt x="5059" y="1126"/>
                    <a:pt x="4944" y="827"/>
                    <a:pt x="4881" y="764"/>
                  </a:cubicBezTo>
                  <a:cubicBezTo>
                    <a:pt x="4811" y="694"/>
                    <a:pt x="4633" y="413"/>
                    <a:pt x="4543" y="375"/>
                  </a:cubicBezTo>
                  <a:cubicBezTo>
                    <a:pt x="4454" y="337"/>
                    <a:pt x="4588" y="197"/>
                    <a:pt x="4499" y="197"/>
                  </a:cubicBezTo>
                  <a:cubicBezTo>
                    <a:pt x="4416" y="197"/>
                    <a:pt x="4142" y="490"/>
                    <a:pt x="4104" y="643"/>
                  </a:cubicBezTo>
                  <a:cubicBezTo>
                    <a:pt x="4066" y="802"/>
                    <a:pt x="4015" y="789"/>
                    <a:pt x="3863" y="834"/>
                  </a:cubicBezTo>
                  <a:cubicBezTo>
                    <a:pt x="3711" y="872"/>
                    <a:pt x="3577" y="834"/>
                    <a:pt x="3628" y="725"/>
                  </a:cubicBezTo>
                  <a:cubicBezTo>
                    <a:pt x="3679" y="623"/>
                    <a:pt x="3622" y="382"/>
                    <a:pt x="3564" y="324"/>
                  </a:cubicBezTo>
                  <a:cubicBezTo>
                    <a:pt x="3532" y="293"/>
                    <a:pt x="3526" y="216"/>
                    <a:pt x="3526" y="153"/>
                  </a:cubicBezTo>
                  <a:cubicBezTo>
                    <a:pt x="3520" y="159"/>
                    <a:pt x="3513" y="159"/>
                    <a:pt x="3501" y="165"/>
                  </a:cubicBezTo>
                  <a:cubicBezTo>
                    <a:pt x="3322" y="210"/>
                    <a:pt x="2928" y="140"/>
                    <a:pt x="2845" y="57"/>
                  </a:cubicBezTo>
                  <a:cubicBezTo>
                    <a:pt x="2826" y="32"/>
                    <a:pt x="2788" y="19"/>
                    <a:pt x="2750" y="0"/>
                  </a:cubicBezTo>
                  <a:cubicBezTo>
                    <a:pt x="2699" y="44"/>
                    <a:pt x="2641" y="95"/>
                    <a:pt x="2641" y="146"/>
                  </a:cubicBezTo>
                  <a:cubicBezTo>
                    <a:pt x="2641" y="248"/>
                    <a:pt x="2641" y="394"/>
                    <a:pt x="2539" y="496"/>
                  </a:cubicBezTo>
                  <a:cubicBezTo>
                    <a:pt x="2438" y="598"/>
                    <a:pt x="1973" y="903"/>
                    <a:pt x="2011" y="1024"/>
                  </a:cubicBezTo>
                  <a:cubicBezTo>
                    <a:pt x="2049" y="1145"/>
                    <a:pt x="2259" y="1304"/>
                    <a:pt x="2183" y="1381"/>
                  </a:cubicBezTo>
                  <a:cubicBezTo>
                    <a:pt x="2113" y="1451"/>
                    <a:pt x="1916" y="1292"/>
                    <a:pt x="1859" y="1419"/>
                  </a:cubicBezTo>
                  <a:cubicBezTo>
                    <a:pt x="1801" y="1546"/>
                    <a:pt x="1948" y="1521"/>
                    <a:pt x="1890" y="1635"/>
                  </a:cubicBezTo>
                  <a:cubicBezTo>
                    <a:pt x="1833" y="1750"/>
                    <a:pt x="1731" y="1852"/>
                    <a:pt x="1648" y="1935"/>
                  </a:cubicBezTo>
                  <a:cubicBezTo>
                    <a:pt x="1572" y="2011"/>
                    <a:pt x="1375" y="2011"/>
                    <a:pt x="1311" y="2011"/>
                  </a:cubicBezTo>
                  <a:cubicBezTo>
                    <a:pt x="1248" y="2011"/>
                    <a:pt x="936" y="2100"/>
                    <a:pt x="853" y="2100"/>
                  </a:cubicBezTo>
                  <a:cubicBezTo>
                    <a:pt x="770" y="2100"/>
                    <a:pt x="598" y="2234"/>
                    <a:pt x="535" y="2234"/>
                  </a:cubicBezTo>
                  <a:cubicBezTo>
                    <a:pt x="471" y="2234"/>
                    <a:pt x="433" y="2132"/>
                    <a:pt x="376" y="2132"/>
                  </a:cubicBezTo>
                  <a:cubicBezTo>
                    <a:pt x="318" y="2132"/>
                    <a:pt x="293" y="2469"/>
                    <a:pt x="217" y="2546"/>
                  </a:cubicBezTo>
                  <a:cubicBezTo>
                    <a:pt x="146" y="2616"/>
                    <a:pt x="32" y="3023"/>
                    <a:pt x="357" y="2896"/>
                  </a:cubicBezTo>
                  <a:cubicBezTo>
                    <a:pt x="357" y="2896"/>
                    <a:pt x="547" y="3112"/>
                    <a:pt x="547" y="3214"/>
                  </a:cubicBezTo>
                  <a:cubicBezTo>
                    <a:pt x="547" y="3316"/>
                    <a:pt x="465" y="3500"/>
                    <a:pt x="388" y="3640"/>
                  </a:cubicBezTo>
                  <a:cubicBezTo>
                    <a:pt x="325" y="3761"/>
                    <a:pt x="38" y="4200"/>
                    <a:pt x="0" y="4468"/>
                  </a:cubicBezTo>
                  <a:cubicBezTo>
                    <a:pt x="242" y="4525"/>
                    <a:pt x="242" y="4709"/>
                    <a:pt x="331" y="4678"/>
                  </a:cubicBezTo>
                  <a:cubicBezTo>
                    <a:pt x="560" y="4601"/>
                    <a:pt x="923" y="4735"/>
                    <a:pt x="1088" y="4754"/>
                  </a:cubicBezTo>
                  <a:cubicBezTo>
                    <a:pt x="1483" y="4792"/>
                    <a:pt x="1222" y="4468"/>
                    <a:pt x="1343" y="4449"/>
                  </a:cubicBezTo>
                  <a:cubicBezTo>
                    <a:pt x="1699" y="4398"/>
                    <a:pt x="1967" y="4646"/>
                    <a:pt x="2037" y="4671"/>
                  </a:cubicBezTo>
                  <a:cubicBezTo>
                    <a:pt x="2107" y="4703"/>
                    <a:pt x="2387" y="4633"/>
                    <a:pt x="2450" y="4786"/>
                  </a:cubicBezTo>
                  <a:cubicBezTo>
                    <a:pt x="2514" y="4945"/>
                    <a:pt x="2629" y="4786"/>
                    <a:pt x="2807" y="4881"/>
                  </a:cubicBezTo>
                  <a:cubicBezTo>
                    <a:pt x="2883" y="4919"/>
                    <a:pt x="2883" y="5072"/>
                    <a:pt x="2928" y="5091"/>
                  </a:cubicBezTo>
                  <a:cubicBezTo>
                    <a:pt x="2947" y="5098"/>
                    <a:pt x="2960" y="5098"/>
                    <a:pt x="2979" y="5104"/>
                  </a:cubicBezTo>
                  <a:cubicBezTo>
                    <a:pt x="3144" y="5021"/>
                    <a:pt x="3367" y="4805"/>
                    <a:pt x="3437" y="4805"/>
                  </a:cubicBezTo>
                  <a:cubicBezTo>
                    <a:pt x="3520" y="4805"/>
                    <a:pt x="3774" y="4748"/>
                    <a:pt x="3774" y="474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3" name="Freeform 497"/>
            <p:cNvSpPr>
              <a:spLocks noChangeArrowheads="1"/>
            </p:cNvSpPr>
            <p:nvPr/>
          </p:nvSpPr>
          <p:spPr bwMode="auto">
            <a:xfrm>
              <a:off x="15215472" y="9163100"/>
              <a:ext cx="2359582" cy="2769632"/>
            </a:xfrm>
            <a:custGeom>
              <a:avLst/>
              <a:gdLst>
                <a:gd name="T0" fmla="*/ 4346 w 4596"/>
                <a:gd name="T1" fmla="*/ 2374 h 5392"/>
                <a:gd name="T2" fmla="*/ 4346 w 4596"/>
                <a:gd name="T3" fmla="*/ 2374 h 5392"/>
                <a:gd name="T4" fmla="*/ 4563 w 4596"/>
                <a:gd name="T5" fmla="*/ 2075 h 5392"/>
                <a:gd name="T6" fmla="*/ 4493 w 4596"/>
                <a:gd name="T7" fmla="*/ 1763 h 5392"/>
                <a:gd name="T8" fmla="*/ 4143 w 4596"/>
                <a:gd name="T9" fmla="*/ 1439 h 5392"/>
                <a:gd name="T10" fmla="*/ 3786 w 4596"/>
                <a:gd name="T11" fmla="*/ 1464 h 5392"/>
                <a:gd name="T12" fmla="*/ 3519 w 4596"/>
                <a:gd name="T13" fmla="*/ 1280 h 5392"/>
                <a:gd name="T14" fmla="*/ 3252 w 4596"/>
                <a:gd name="T15" fmla="*/ 885 h 5392"/>
                <a:gd name="T16" fmla="*/ 3029 w 4596"/>
                <a:gd name="T17" fmla="*/ 427 h 5392"/>
                <a:gd name="T18" fmla="*/ 2749 w 4596"/>
                <a:gd name="T19" fmla="*/ 459 h 5392"/>
                <a:gd name="T20" fmla="*/ 2609 w 4596"/>
                <a:gd name="T21" fmla="*/ 331 h 5392"/>
                <a:gd name="T22" fmla="*/ 2386 w 4596"/>
                <a:gd name="T23" fmla="*/ 109 h 5392"/>
                <a:gd name="T24" fmla="*/ 2144 w 4596"/>
                <a:gd name="T25" fmla="*/ 293 h 5392"/>
                <a:gd name="T26" fmla="*/ 1909 w 4596"/>
                <a:gd name="T27" fmla="*/ 662 h 5392"/>
                <a:gd name="T28" fmla="*/ 1960 w 4596"/>
                <a:gd name="T29" fmla="*/ 720 h 5392"/>
                <a:gd name="T30" fmla="*/ 2138 w 4596"/>
                <a:gd name="T31" fmla="*/ 1324 h 5392"/>
                <a:gd name="T32" fmla="*/ 2437 w 4596"/>
                <a:gd name="T33" fmla="*/ 1750 h 5392"/>
                <a:gd name="T34" fmla="*/ 2577 w 4596"/>
                <a:gd name="T35" fmla="*/ 2012 h 5392"/>
                <a:gd name="T36" fmla="*/ 2272 w 4596"/>
                <a:gd name="T37" fmla="*/ 2425 h 5392"/>
                <a:gd name="T38" fmla="*/ 2036 w 4596"/>
                <a:gd name="T39" fmla="*/ 2546 h 5392"/>
                <a:gd name="T40" fmla="*/ 1508 w 4596"/>
                <a:gd name="T41" fmla="*/ 2788 h 5392"/>
                <a:gd name="T42" fmla="*/ 1450 w 4596"/>
                <a:gd name="T43" fmla="*/ 2922 h 5392"/>
                <a:gd name="T44" fmla="*/ 1285 w 4596"/>
                <a:gd name="T45" fmla="*/ 3259 h 5392"/>
                <a:gd name="T46" fmla="*/ 860 w 4596"/>
                <a:gd name="T47" fmla="*/ 3259 h 5392"/>
                <a:gd name="T48" fmla="*/ 300 w 4596"/>
                <a:gd name="T49" fmla="*/ 3265 h 5392"/>
                <a:gd name="T50" fmla="*/ 160 w 4596"/>
                <a:gd name="T51" fmla="*/ 3673 h 5392"/>
                <a:gd name="T52" fmla="*/ 510 w 4596"/>
                <a:gd name="T53" fmla="*/ 4233 h 5392"/>
                <a:gd name="T54" fmla="*/ 389 w 4596"/>
                <a:gd name="T55" fmla="*/ 4411 h 5392"/>
                <a:gd name="T56" fmla="*/ 681 w 4596"/>
                <a:gd name="T57" fmla="*/ 4589 h 5392"/>
                <a:gd name="T58" fmla="*/ 853 w 4596"/>
                <a:gd name="T59" fmla="*/ 4704 h 5392"/>
                <a:gd name="T60" fmla="*/ 516 w 4596"/>
                <a:gd name="T61" fmla="*/ 4761 h 5392"/>
                <a:gd name="T62" fmla="*/ 58 w 4596"/>
                <a:gd name="T63" fmla="*/ 5060 h 5392"/>
                <a:gd name="T64" fmla="*/ 274 w 4596"/>
                <a:gd name="T65" fmla="*/ 5200 h 5392"/>
                <a:gd name="T66" fmla="*/ 624 w 4596"/>
                <a:gd name="T67" fmla="*/ 5219 h 5392"/>
                <a:gd name="T68" fmla="*/ 1323 w 4596"/>
                <a:gd name="T69" fmla="*/ 5391 h 5392"/>
                <a:gd name="T70" fmla="*/ 1450 w 4596"/>
                <a:gd name="T71" fmla="*/ 5257 h 5392"/>
                <a:gd name="T72" fmla="*/ 1559 w 4596"/>
                <a:gd name="T73" fmla="*/ 5257 h 5392"/>
                <a:gd name="T74" fmla="*/ 1762 w 4596"/>
                <a:gd name="T75" fmla="*/ 5117 h 5392"/>
                <a:gd name="T76" fmla="*/ 2227 w 4596"/>
                <a:gd name="T77" fmla="*/ 5175 h 5392"/>
                <a:gd name="T78" fmla="*/ 2125 w 4596"/>
                <a:gd name="T79" fmla="*/ 4926 h 5392"/>
                <a:gd name="T80" fmla="*/ 2023 w 4596"/>
                <a:gd name="T81" fmla="*/ 4818 h 5392"/>
                <a:gd name="T82" fmla="*/ 1972 w 4596"/>
                <a:gd name="T83" fmla="*/ 4589 h 5392"/>
                <a:gd name="T84" fmla="*/ 1985 w 4596"/>
                <a:gd name="T85" fmla="*/ 4360 h 5392"/>
                <a:gd name="T86" fmla="*/ 1864 w 4596"/>
                <a:gd name="T87" fmla="*/ 4201 h 5392"/>
                <a:gd name="T88" fmla="*/ 1985 w 4596"/>
                <a:gd name="T89" fmla="*/ 4125 h 5392"/>
                <a:gd name="T90" fmla="*/ 2208 w 4596"/>
                <a:gd name="T91" fmla="*/ 3634 h 5392"/>
                <a:gd name="T92" fmla="*/ 2361 w 4596"/>
                <a:gd name="T93" fmla="*/ 3424 h 5392"/>
                <a:gd name="T94" fmla="*/ 2685 w 4596"/>
                <a:gd name="T95" fmla="*/ 3380 h 5392"/>
                <a:gd name="T96" fmla="*/ 2692 w 4596"/>
                <a:gd name="T97" fmla="*/ 3234 h 5392"/>
                <a:gd name="T98" fmla="*/ 2889 w 4596"/>
                <a:gd name="T99" fmla="*/ 3189 h 5392"/>
                <a:gd name="T100" fmla="*/ 3048 w 4596"/>
                <a:gd name="T101" fmla="*/ 3074 h 5392"/>
                <a:gd name="T102" fmla="*/ 3309 w 4596"/>
                <a:gd name="T103" fmla="*/ 2845 h 5392"/>
                <a:gd name="T104" fmla="*/ 3576 w 4596"/>
                <a:gd name="T105" fmla="*/ 2998 h 5392"/>
                <a:gd name="T106" fmla="*/ 3901 w 4596"/>
                <a:gd name="T107" fmla="*/ 3068 h 5392"/>
                <a:gd name="T108" fmla="*/ 3933 w 4596"/>
                <a:gd name="T109" fmla="*/ 3030 h 5392"/>
                <a:gd name="T110" fmla="*/ 4003 w 4596"/>
                <a:gd name="T111" fmla="*/ 3023 h 5392"/>
                <a:gd name="T112" fmla="*/ 4117 w 4596"/>
                <a:gd name="T113" fmla="*/ 2782 h 5392"/>
                <a:gd name="T114" fmla="*/ 4346 w 4596"/>
                <a:gd name="T115" fmla="*/ 2374 h 5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596" h="5392">
                  <a:moveTo>
                    <a:pt x="4346" y="2374"/>
                  </a:moveTo>
                  <a:lnTo>
                    <a:pt x="4346" y="2374"/>
                  </a:lnTo>
                  <a:cubicBezTo>
                    <a:pt x="4308" y="2228"/>
                    <a:pt x="4531" y="2190"/>
                    <a:pt x="4563" y="2075"/>
                  </a:cubicBezTo>
                  <a:cubicBezTo>
                    <a:pt x="4595" y="1961"/>
                    <a:pt x="4563" y="1884"/>
                    <a:pt x="4493" y="1763"/>
                  </a:cubicBezTo>
                  <a:cubicBezTo>
                    <a:pt x="4423" y="1642"/>
                    <a:pt x="4251" y="1439"/>
                    <a:pt x="4143" y="1439"/>
                  </a:cubicBezTo>
                  <a:cubicBezTo>
                    <a:pt x="4035" y="1439"/>
                    <a:pt x="3875" y="1464"/>
                    <a:pt x="3786" y="1464"/>
                  </a:cubicBezTo>
                  <a:cubicBezTo>
                    <a:pt x="3697" y="1464"/>
                    <a:pt x="3602" y="1464"/>
                    <a:pt x="3519" y="1280"/>
                  </a:cubicBezTo>
                  <a:cubicBezTo>
                    <a:pt x="3436" y="1095"/>
                    <a:pt x="3283" y="968"/>
                    <a:pt x="3252" y="885"/>
                  </a:cubicBezTo>
                  <a:cubicBezTo>
                    <a:pt x="3220" y="802"/>
                    <a:pt x="3118" y="465"/>
                    <a:pt x="3029" y="427"/>
                  </a:cubicBezTo>
                  <a:cubicBezTo>
                    <a:pt x="2940" y="389"/>
                    <a:pt x="2819" y="389"/>
                    <a:pt x="2749" y="459"/>
                  </a:cubicBezTo>
                  <a:cubicBezTo>
                    <a:pt x="2679" y="529"/>
                    <a:pt x="2609" y="414"/>
                    <a:pt x="2609" y="331"/>
                  </a:cubicBezTo>
                  <a:cubicBezTo>
                    <a:pt x="2609" y="249"/>
                    <a:pt x="2386" y="0"/>
                    <a:pt x="2386" y="109"/>
                  </a:cubicBezTo>
                  <a:cubicBezTo>
                    <a:pt x="2386" y="217"/>
                    <a:pt x="2240" y="293"/>
                    <a:pt x="2144" y="293"/>
                  </a:cubicBezTo>
                  <a:cubicBezTo>
                    <a:pt x="2081" y="293"/>
                    <a:pt x="1972" y="516"/>
                    <a:pt x="1909" y="662"/>
                  </a:cubicBezTo>
                  <a:cubicBezTo>
                    <a:pt x="1928" y="688"/>
                    <a:pt x="1947" y="707"/>
                    <a:pt x="1960" y="720"/>
                  </a:cubicBezTo>
                  <a:cubicBezTo>
                    <a:pt x="2023" y="783"/>
                    <a:pt x="2138" y="1082"/>
                    <a:pt x="2138" y="1324"/>
                  </a:cubicBezTo>
                  <a:cubicBezTo>
                    <a:pt x="2138" y="1566"/>
                    <a:pt x="2354" y="1750"/>
                    <a:pt x="2437" y="1750"/>
                  </a:cubicBezTo>
                  <a:cubicBezTo>
                    <a:pt x="2437" y="1750"/>
                    <a:pt x="2392" y="1954"/>
                    <a:pt x="2577" y="2012"/>
                  </a:cubicBezTo>
                  <a:cubicBezTo>
                    <a:pt x="2577" y="2012"/>
                    <a:pt x="2412" y="2393"/>
                    <a:pt x="2272" y="2425"/>
                  </a:cubicBezTo>
                  <a:cubicBezTo>
                    <a:pt x="2131" y="2457"/>
                    <a:pt x="2036" y="2476"/>
                    <a:pt x="2036" y="2546"/>
                  </a:cubicBezTo>
                  <a:cubicBezTo>
                    <a:pt x="2036" y="2623"/>
                    <a:pt x="1839" y="2788"/>
                    <a:pt x="1508" y="2788"/>
                  </a:cubicBezTo>
                  <a:cubicBezTo>
                    <a:pt x="1508" y="2788"/>
                    <a:pt x="1450" y="2852"/>
                    <a:pt x="1450" y="2922"/>
                  </a:cubicBezTo>
                  <a:cubicBezTo>
                    <a:pt x="1450" y="2992"/>
                    <a:pt x="1501" y="3259"/>
                    <a:pt x="1285" y="3259"/>
                  </a:cubicBezTo>
                  <a:cubicBezTo>
                    <a:pt x="1075" y="3259"/>
                    <a:pt x="1031" y="3189"/>
                    <a:pt x="860" y="3259"/>
                  </a:cubicBezTo>
                  <a:cubicBezTo>
                    <a:pt x="688" y="3329"/>
                    <a:pt x="440" y="3265"/>
                    <a:pt x="300" y="3265"/>
                  </a:cubicBezTo>
                  <a:cubicBezTo>
                    <a:pt x="160" y="3265"/>
                    <a:pt x="0" y="3514"/>
                    <a:pt x="160" y="3673"/>
                  </a:cubicBezTo>
                  <a:cubicBezTo>
                    <a:pt x="319" y="3832"/>
                    <a:pt x="586" y="3838"/>
                    <a:pt x="510" y="4233"/>
                  </a:cubicBezTo>
                  <a:cubicBezTo>
                    <a:pt x="510" y="4233"/>
                    <a:pt x="389" y="4341"/>
                    <a:pt x="389" y="4411"/>
                  </a:cubicBezTo>
                  <a:cubicBezTo>
                    <a:pt x="389" y="4481"/>
                    <a:pt x="573" y="4532"/>
                    <a:pt x="681" y="4589"/>
                  </a:cubicBezTo>
                  <a:cubicBezTo>
                    <a:pt x="790" y="4646"/>
                    <a:pt x="853" y="4704"/>
                    <a:pt x="853" y="4704"/>
                  </a:cubicBezTo>
                  <a:cubicBezTo>
                    <a:pt x="853" y="4704"/>
                    <a:pt x="599" y="4761"/>
                    <a:pt x="516" y="4761"/>
                  </a:cubicBezTo>
                  <a:cubicBezTo>
                    <a:pt x="446" y="4761"/>
                    <a:pt x="223" y="4977"/>
                    <a:pt x="58" y="5060"/>
                  </a:cubicBezTo>
                  <a:cubicBezTo>
                    <a:pt x="96" y="5066"/>
                    <a:pt x="153" y="5085"/>
                    <a:pt x="274" y="5200"/>
                  </a:cubicBezTo>
                  <a:cubicBezTo>
                    <a:pt x="440" y="5372"/>
                    <a:pt x="395" y="5321"/>
                    <a:pt x="624" y="5219"/>
                  </a:cubicBezTo>
                  <a:cubicBezTo>
                    <a:pt x="853" y="5117"/>
                    <a:pt x="1266" y="5391"/>
                    <a:pt x="1323" y="5391"/>
                  </a:cubicBezTo>
                  <a:cubicBezTo>
                    <a:pt x="1381" y="5391"/>
                    <a:pt x="1412" y="5213"/>
                    <a:pt x="1450" y="5257"/>
                  </a:cubicBezTo>
                  <a:cubicBezTo>
                    <a:pt x="1495" y="5295"/>
                    <a:pt x="1559" y="5257"/>
                    <a:pt x="1559" y="5257"/>
                  </a:cubicBezTo>
                  <a:cubicBezTo>
                    <a:pt x="1680" y="5105"/>
                    <a:pt x="1762" y="5117"/>
                    <a:pt x="1762" y="5117"/>
                  </a:cubicBezTo>
                  <a:cubicBezTo>
                    <a:pt x="2112" y="5257"/>
                    <a:pt x="2227" y="5175"/>
                    <a:pt x="2227" y="5175"/>
                  </a:cubicBezTo>
                  <a:cubicBezTo>
                    <a:pt x="2252" y="5111"/>
                    <a:pt x="2182" y="4984"/>
                    <a:pt x="2125" y="4926"/>
                  </a:cubicBezTo>
                  <a:cubicBezTo>
                    <a:pt x="2074" y="4875"/>
                    <a:pt x="2023" y="4888"/>
                    <a:pt x="2023" y="4818"/>
                  </a:cubicBezTo>
                  <a:cubicBezTo>
                    <a:pt x="2023" y="4754"/>
                    <a:pt x="1972" y="4615"/>
                    <a:pt x="1972" y="4589"/>
                  </a:cubicBezTo>
                  <a:cubicBezTo>
                    <a:pt x="1972" y="4557"/>
                    <a:pt x="2023" y="4430"/>
                    <a:pt x="1985" y="4360"/>
                  </a:cubicBezTo>
                  <a:cubicBezTo>
                    <a:pt x="1947" y="4296"/>
                    <a:pt x="1832" y="4315"/>
                    <a:pt x="1864" y="4201"/>
                  </a:cubicBezTo>
                  <a:cubicBezTo>
                    <a:pt x="1902" y="4093"/>
                    <a:pt x="1947" y="4125"/>
                    <a:pt x="1985" y="4125"/>
                  </a:cubicBezTo>
                  <a:cubicBezTo>
                    <a:pt x="1922" y="3863"/>
                    <a:pt x="2176" y="3634"/>
                    <a:pt x="2208" y="3634"/>
                  </a:cubicBezTo>
                  <a:cubicBezTo>
                    <a:pt x="2246" y="3634"/>
                    <a:pt x="2259" y="3494"/>
                    <a:pt x="2361" y="3424"/>
                  </a:cubicBezTo>
                  <a:cubicBezTo>
                    <a:pt x="2456" y="3354"/>
                    <a:pt x="2641" y="3418"/>
                    <a:pt x="2685" y="3380"/>
                  </a:cubicBezTo>
                  <a:cubicBezTo>
                    <a:pt x="2723" y="3335"/>
                    <a:pt x="2641" y="3284"/>
                    <a:pt x="2692" y="3234"/>
                  </a:cubicBezTo>
                  <a:cubicBezTo>
                    <a:pt x="2749" y="3176"/>
                    <a:pt x="2870" y="3189"/>
                    <a:pt x="2889" y="3189"/>
                  </a:cubicBezTo>
                  <a:cubicBezTo>
                    <a:pt x="2908" y="3189"/>
                    <a:pt x="2991" y="3087"/>
                    <a:pt x="3048" y="3074"/>
                  </a:cubicBezTo>
                  <a:cubicBezTo>
                    <a:pt x="3112" y="3062"/>
                    <a:pt x="3131" y="2877"/>
                    <a:pt x="3309" y="2845"/>
                  </a:cubicBezTo>
                  <a:cubicBezTo>
                    <a:pt x="3481" y="2813"/>
                    <a:pt x="3468" y="2998"/>
                    <a:pt x="3576" y="2998"/>
                  </a:cubicBezTo>
                  <a:cubicBezTo>
                    <a:pt x="3678" y="2998"/>
                    <a:pt x="3869" y="3068"/>
                    <a:pt x="3901" y="3068"/>
                  </a:cubicBezTo>
                  <a:cubicBezTo>
                    <a:pt x="3933" y="3068"/>
                    <a:pt x="3933" y="3030"/>
                    <a:pt x="3933" y="3030"/>
                  </a:cubicBezTo>
                  <a:cubicBezTo>
                    <a:pt x="3958" y="3030"/>
                    <a:pt x="3984" y="3023"/>
                    <a:pt x="4003" y="3023"/>
                  </a:cubicBezTo>
                  <a:cubicBezTo>
                    <a:pt x="4047" y="2915"/>
                    <a:pt x="4098" y="2801"/>
                    <a:pt x="4117" y="2782"/>
                  </a:cubicBezTo>
                  <a:cubicBezTo>
                    <a:pt x="4155" y="2750"/>
                    <a:pt x="4385" y="2521"/>
                    <a:pt x="4346" y="237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4" name="Freeform 498"/>
            <p:cNvSpPr>
              <a:spLocks noChangeArrowheads="1"/>
            </p:cNvSpPr>
            <p:nvPr/>
          </p:nvSpPr>
          <p:spPr bwMode="auto">
            <a:xfrm>
              <a:off x="17269349" y="8970608"/>
              <a:ext cx="2432046" cy="2124215"/>
            </a:xfrm>
            <a:custGeom>
              <a:avLst/>
              <a:gdLst>
                <a:gd name="T0" fmla="*/ 2609 w 4736"/>
                <a:gd name="T1" fmla="*/ 70 h 4138"/>
                <a:gd name="T2" fmla="*/ 2444 w 4736"/>
                <a:gd name="T3" fmla="*/ 592 h 4138"/>
                <a:gd name="T4" fmla="*/ 1833 w 4736"/>
                <a:gd name="T5" fmla="*/ 1056 h 4138"/>
                <a:gd name="T6" fmla="*/ 1489 w 4736"/>
                <a:gd name="T7" fmla="*/ 1515 h 4138"/>
                <a:gd name="T8" fmla="*/ 1852 w 4736"/>
                <a:gd name="T9" fmla="*/ 1954 h 4138"/>
                <a:gd name="T10" fmla="*/ 1044 w 4736"/>
                <a:gd name="T11" fmla="*/ 1827 h 4138"/>
                <a:gd name="T12" fmla="*/ 776 w 4736"/>
                <a:gd name="T13" fmla="*/ 1585 h 4138"/>
                <a:gd name="T14" fmla="*/ 464 w 4736"/>
                <a:gd name="T15" fmla="*/ 1782 h 4138"/>
                <a:gd name="T16" fmla="*/ 490 w 4736"/>
                <a:gd name="T17" fmla="*/ 2138 h 4138"/>
                <a:gd name="T18" fmla="*/ 343 w 4736"/>
                <a:gd name="T19" fmla="*/ 2749 h 4138"/>
                <a:gd name="T20" fmla="*/ 0 w 4736"/>
                <a:gd name="T21" fmla="*/ 3398 h 4138"/>
                <a:gd name="T22" fmla="*/ 572 w 4736"/>
                <a:gd name="T23" fmla="*/ 3583 h 4138"/>
                <a:gd name="T24" fmla="*/ 668 w 4736"/>
                <a:gd name="T25" fmla="*/ 3430 h 4138"/>
                <a:gd name="T26" fmla="*/ 795 w 4736"/>
                <a:gd name="T27" fmla="*/ 3316 h 4138"/>
                <a:gd name="T28" fmla="*/ 929 w 4736"/>
                <a:gd name="T29" fmla="*/ 3227 h 4138"/>
                <a:gd name="T30" fmla="*/ 1094 w 4736"/>
                <a:gd name="T31" fmla="*/ 3354 h 4138"/>
                <a:gd name="T32" fmla="*/ 1069 w 4736"/>
                <a:gd name="T33" fmla="*/ 3653 h 4138"/>
                <a:gd name="T34" fmla="*/ 1228 w 4736"/>
                <a:gd name="T35" fmla="*/ 3748 h 4138"/>
                <a:gd name="T36" fmla="*/ 1623 w 4736"/>
                <a:gd name="T37" fmla="*/ 3882 h 4138"/>
                <a:gd name="T38" fmla="*/ 2049 w 4736"/>
                <a:gd name="T39" fmla="*/ 4111 h 4138"/>
                <a:gd name="T40" fmla="*/ 2431 w 4736"/>
                <a:gd name="T41" fmla="*/ 4118 h 4138"/>
                <a:gd name="T42" fmla="*/ 2654 w 4736"/>
                <a:gd name="T43" fmla="*/ 3990 h 4138"/>
                <a:gd name="T44" fmla="*/ 2844 w 4736"/>
                <a:gd name="T45" fmla="*/ 3895 h 4138"/>
                <a:gd name="T46" fmla="*/ 3175 w 4736"/>
                <a:gd name="T47" fmla="*/ 3869 h 4138"/>
                <a:gd name="T48" fmla="*/ 3271 w 4736"/>
                <a:gd name="T49" fmla="*/ 3577 h 4138"/>
                <a:gd name="T50" fmla="*/ 3188 w 4736"/>
                <a:gd name="T51" fmla="*/ 3519 h 4138"/>
                <a:gd name="T52" fmla="*/ 3519 w 4736"/>
                <a:gd name="T53" fmla="*/ 3316 h 4138"/>
                <a:gd name="T54" fmla="*/ 3806 w 4736"/>
                <a:gd name="T55" fmla="*/ 3004 h 4138"/>
                <a:gd name="T56" fmla="*/ 3844 w 4736"/>
                <a:gd name="T57" fmla="*/ 2921 h 4138"/>
                <a:gd name="T58" fmla="*/ 4066 w 4736"/>
                <a:gd name="T59" fmla="*/ 2787 h 4138"/>
                <a:gd name="T60" fmla="*/ 4149 w 4736"/>
                <a:gd name="T61" fmla="*/ 2775 h 4138"/>
                <a:gd name="T62" fmla="*/ 4442 w 4736"/>
                <a:gd name="T63" fmla="*/ 1916 h 4138"/>
                <a:gd name="T64" fmla="*/ 3519 w 4736"/>
                <a:gd name="T65" fmla="*/ 1763 h 4138"/>
                <a:gd name="T66" fmla="*/ 3526 w 4736"/>
                <a:gd name="T67" fmla="*/ 827 h 4138"/>
                <a:gd name="T68" fmla="*/ 2940 w 4736"/>
                <a:gd name="T69" fmla="*/ 121 h 4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36" h="4138">
                  <a:moveTo>
                    <a:pt x="2609" y="70"/>
                  </a:moveTo>
                  <a:lnTo>
                    <a:pt x="2609" y="70"/>
                  </a:lnTo>
                  <a:cubicBezTo>
                    <a:pt x="2514" y="159"/>
                    <a:pt x="2666" y="299"/>
                    <a:pt x="2717" y="420"/>
                  </a:cubicBezTo>
                  <a:cubicBezTo>
                    <a:pt x="2775" y="547"/>
                    <a:pt x="2552" y="592"/>
                    <a:pt x="2444" y="592"/>
                  </a:cubicBezTo>
                  <a:cubicBezTo>
                    <a:pt x="2335" y="592"/>
                    <a:pt x="2202" y="764"/>
                    <a:pt x="2094" y="789"/>
                  </a:cubicBezTo>
                  <a:cubicBezTo>
                    <a:pt x="1992" y="821"/>
                    <a:pt x="1903" y="980"/>
                    <a:pt x="1833" y="1056"/>
                  </a:cubicBezTo>
                  <a:cubicBezTo>
                    <a:pt x="1756" y="1126"/>
                    <a:pt x="1743" y="1234"/>
                    <a:pt x="1743" y="1298"/>
                  </a:cubicBezTo>
                  <a:cubicBezTo>
                    <a:pt x="1743" y="1362"/>
                    <a:pt x="1527" y="1413"/>
                    <a:pt x="1489" y="1515"/>
                  </a:cubicBezTo>
                  <a:cubicBezTo>
                    <a:pt x="1451" y="1616"/>
                    <a:pt x="1584" y="1610"/>
                    <a:pt x="1680" y="1635"/>
                  </a:cubicBezTo>
                  <a:cubicBezTo>
                    <a:pt x="1782" y="1667"/>
                    <a:pt x="1922" y="1877"/>
                    <a:pt x="1852" y="1954"/>
                  </a:cubicBezTo>
                  <a:cubicBezTo>
                    <a:pt x="1775" y="2024"/>
                    <a:pt x="1514" y="1954"/>
                    <a:pt x="1355" y="1954"/>
                  </a:cubicBezTo>
                  <a:cubicBezTo>
                    <a:pt x="1196" y="1954"/>
                    <a:pt x="1113" y="1827"/>
                    <a:pt x="1044" y="1827"/>
                  </a:cubicBezTo>
                  <a:cubicBezTo>
                    <a:pt x="973" y="1827"/>
                    <a:pt x="903" y="1756"/>
                    <a:pt x="903" y="1680"/>
                  </a:cubicBezTo>
                  <a:cubicBezTo>
                    <a:pt x="903" y="1604"/>
                    <a:pt x="852" y="1508"/>
                    <a:pt x="776" y="1585"/>
                  </a:cubicBezTo>
                  <a:cubicBezTo>
                    <a:pt x="700" y="1661"/>
                    <a:pt x="802" y="1782"/>
                    <a:pt x="802" y="1782"/>
                  </a:cubicBezTo>
                  <a:cubicBezTo>
                    <a:pt x="744" y="1839"/>
                    <a:pt x="560" y="1782"/>
                    <a:pt x="464" y="1782"/>
                  </a:cubicBezTo>
                  <a:cubicBezTo>
                    <a:pt x="407" y="1782"/>
                    <a:pt x="337" y="1845"/>
                    <a:pt x="286" y="1896"/>
                  </a:cubicBezTo>
                  <a:cubicBezTo>
                    <a:pt x="369" y="1966"/>
                    <a:pt x="445" y="2062"/>
                    <a:pt x="490" y="2138"/>
                  </a:cubicBezTo>
                  <a:cubicBezTo>
                    <a:pt x="560" y="2259"/>
                    <a:pt x="592" y="2336"/>
                    <a:pt x="560" y="2450"/>
                  </a:cubicBezTo>
                  <a:cubicBezTo>
                    <a:pt x="528" y="2565"/>
                    <a:pt x="305" y="2603"/>
                    <a:pt x="343" y="2749"/>
                  </a:cubicBezTo>
                  <a:cubicBezTo>
                    <a:pt x="382" y="2896"/>
                    <a:pt x="152" y="3125"/>
                    <a:pt x="114" y="3157"/>
                  </a:cubicBezTo>
                  <a:cubicBezTo>
                    <a:pt x="95" y="3176"/>
                    <a:pt x="44" y="3290"/>
                    <a:pt x="0" y="3398"/>
                  </a:cubicBezTo>
                  <a:cubicBezTo>
                    <a:pt x="165" y="3379"/>
                    <a:pt x="159" y="3456"/>
                    <a:pt x="159" y="3456"/>
                  </a:cubicBezTo>
                  <a:cubicBezTo>
                    <a:pt x="216" y="3729"/>
                    <a:pt x="541" y="3615"/>
                    <a:pt x="572" y="3583"/>
                  </a:cubicBezTo>
                  <a:cubicBezTo>
                    <a:pt x="604" y="3551"/>
                    <a:pt x="528" y="3430"/>
                    <a:pt x="547" y="3405"/>
                  </a:cubicBezTo>
                  <a:cubicBezTo>
                    <a:pt x="572" y="3379"/>
                    <a:pt x="642" y="3430"/>
                    <a:pt x="668" y="3430"/>
                  </a:cubicBezTo>
                  <a:cubicBezTo>
                    <a:pt x="693" y="3430"/>
                    <a:pt x="865" y="3475"/>
                    <a:pt x="865" y="3417"/>
                  </a:cubicBezTo>
                  <a:cubicBezTo>
                    <a:pt x="865" y="3360"/>
                    <a:pt x="763" y="3316"/>
                    <a:pt x="795" y="3316"/>
                  </a:cubicBezTo>
                  <a:cubicBezTo>
                    <a:pt x="827" y="3316"/>
                    <a:pt x="840" y="3188"/>
                    <a:pt x="840" y="3188"/>
                  </a:cubicBezTo>
                  <a:cubicBezTo>
                    <a:pt x="840" y="3188"/>
                    <a:pt x="884" y="3227"/>
                    <a:pt x="929" y="3227"/>
                  </a:cubicBezTo>
                  <a:cubicBezTo>
                    <a:pt x="980" y="3227"/>
                    <a:pt x="929" y="3417"/>
                    <a:pt x="993" y="3354"/>
                  </a:cubicBezTo>
                  <a:cubicBezTo>
                    <a:pt x="1056" y="3290"/>
                    <a:pt x="1094" y="3354"/>
                    <a:pt x="1094" y="3354"/>
                  </a:cubicBezTo>
                  <a:cubicBezTo>
                    <a:pt x="1094" y="3551"/>
                    <a:pt x="929" y="3398"/>
                    <a:pt x="814" y="3513"/>
                  </a:cubicBezTo>
                  <a:cubicBezTo>
                    <a:pt x="700" y="3627"/>
                    <a:pt x="986" y="3627"/>
                    <a:pt x="1069" y="3653"/>
                  </a:cubicBezTo>
                  <a:cubicBezTo>
                    <a:pt x="1152" y="3678"/>
                    <a:pt x="1069" y="3545"/>
                    <a:pt x="1215" y="3570"/>
                  </a:cubicBezTo>
                  <a:cubicBezTo>
                    <a:pt x="1362" y="3602"/>
                    <a:pt x="1228" y="3653"/>
                    <a:pt x="1228" y="3748"/>
                  </a:cubicBezTo>
                  <a:cubicBezTo>
                    <a:pt x="1228" y="3850"/>
                    <a:pt x="1311" y="3831"/>
                    <a:pt x="1311" y="3831"/>
                  </a:cubicBezTo>
                  <a:cubicBezTo>
                    <a:pt x="1616" y="3780"/>
                    <a:pt x="1483" y="3908"/>
                    <a:pt x="1623" y="3882"/>
                  </a:cubicBezTo>
                  <a:cubicBezTo>
                    <a:pt x="1763" y="3857"/>
                    <a:pt x="1820" y="3952"/>
                    <a:pt x="1820" y="3952"/>
                  </a:cubicBezTo>
                  <a:cubicBezTo>
                    <a:pt x="1973" y="4022"/>
                    <a:pt x="1985" y="4137"/>
                    <a:pt x="2049" y="4111"/>
                  </a:cubicBezTo>
                  <a:cubicBezTo>
                    <a:pt x="2151" y="4009"/>
                    <a:pt x="2291" y="4022"/>
                    <a:pt x="2291" y="4022"/>
                  </a:cubicBezTo>
                  <a:cubicBezTo>
                    <a:pt x="2374" y="4003"/>
                    <a:pt x="2380" y="4118"/>
                    <a:pt x="2431" y="4118"/>
                  </a:cubicBezTo>
                  <a:cubicBezTo>
                    <a:pt x="2463" y="4118"/>
                    <a:pt x="2495" y="4054"/>
                    <a:pt x="2539" y="4022"/>
                  </a:cubicBezTo>
                  <a:cubicBezTo>
                    <a:pt x="2577" y="3990"/>
                    <a:pt x="2635" y="4003"/>
                    <a:pt x="2654" y="3990"/>
                  </a:cubicBezTo>
                  <a:cubicBezTo>
                    <a:pt x="2679" y="3958"/>
                    <a:pt x="2755" y="4028"/>
                    <a:pt x="2800" y="4028"/>
                  </a:cubicBezTo>
                  <a:cubicBezTo>
                    <a:pt x="2851" y="4028"/>
                    <a:pt x="2794" y="3869"/>
                    <a:pt x="2844" y="3895"/>
                  </a:cubicBezTo>
                  <a:cubicBezTo>
                    <a:pt x="2895" y="3920"/>
                    <a:pt x="3004" y="3850"/>
                    <a:pt x="3067" y="3825"/>
                  </a:cubicBezTo>
                  <a:cubicBezTo>
                    <a:pt x="3125" y="3799"/>
                    <a:pt x="3144" y="3869"/>
                    <a:pt x="3175" y="3869"/>
                  </a:cubicBezTo>
                  <a:cubicBezTo>
                    <a:pt x="3207" y="3869"/>
                    <a:pt x="3277" y="3710"/>
                    <a:pt x="3245" y="3685"/>
                  </a:cubicBezTo>
                  <a:cubicBezTo>
                    <a:pt x="3220" y="3653"/>
                    <a:pt x="3271" y="3609"/>
                    <a:pt x="3271" y="3577"/>
                  </a:cubicBezTo>
                  <a:cubicBezTo>
                    <a:pt x="3271" y="3551"/>
                    <a:pt x="3163" y="3609"/>
                    <a:pt x="3118" y="3609"/>
                  </a:cubicBezTo>
                  <a:cubicBezTo>
                    <a:pt x="3074" y="3609"/>
                    <a:pt x="3118" y="3500"/>
                    <a:pt x="3188" y="3519"/>
                  </a:cubicBezTo>
                  <a:cubicBezTo>
                    <a:pt x="3258" y="3538"/>
                    <a:pt x="3335" y="3373"/>
                    <a:pt x="3354" y="3316"/>
                  </a:cubicBezTo>
                  <a:cubicBezTo>
                    <a:pt x="3373" y="3258"/>
                    <a:pt x="3468" y="3316"/>
                    <a:pt x="3519" y="3316"/>
                  </a:cubicBezTo>
                  <a:cubicBezTo>
                    <a:pt x="3570" y="3316"/>
                    <a:pt x="3634" y="3067"/>
                    <a:pt x="3634" y="3067"/>
                  </a:cubicBezTo>
                  <a:cubicBezTo>
                    <a:pt x="3761" y="3112"/>
                    <a:pt x="3755" y="2953"/>
                    <a:pt x="3806" y="3004"/>
                  </a:cubicBezTo>
                  <a:cubicBezTo>
                    <a:pt x="3856" y="3055"/>
                    <a:pt x="3895" y="3036"/>
                    <a:pt x="3895" y="3036"/>
                  </a:cubicBezTo>
                  <a:cubicBezTo>
                    <a:pt x="3907" y="3016"/>
                    <a:pt x="3831" y="2972"/>
                    <a:pt x="3844" y="2921"/>
                  </a:cubicBezTo>
                  <a:cubicBezTo>
                    <a:pt x="3856" y="2845"/>
                    <a:pt x="3958" y="2749"/>
                    <a:pt x="3990" y="2730"/>
                  </a:cubicBezTo>
                  <a:cubicBezTo>
                    <a:pt x="4048" y="2698"/>
                    <a:pt x="4028" y="2762"/>
                    <a:pt x="4066" y="2787"/>
                  </a:cubicBezTo>
                  <a:cubicBezTo>
                    <a:pt x="4105" y="2807"/>
                    <a:pt x="4111" y="2679"/>
                    <a:pt x="4111" y="2736"/>
                  </a:cubicBezTo>
                  <a:cubicBezTo>
                    <a:pt x="4111" y="2794"/>
                    <a:pt x="4149" y="2775"/>
                    <a:pt x="4149" y="2775"/>
                  </a:cubicBezTo>
                  <a:cubicBezTo>
                    <a:pt x="4168" y="2692"/>
                    <a:pt x="4353" y="2603"/>
                    <a:pt x="4353" y="2603"/>
                  </a:cubicBezTo>
                  <a:cubicBezTo>
                    <a:pt x="4264" y="2514"/>
                    <a:pt x="4735" y="2094"/>
                    <a:pt x="4442" y="1916"/>
                  </a:cubicBezTo>
                  <a:cubicBezTo>
                    <a:pt x="4308" y="1839"/>
                    <a:pt x="4117" y="2011"/>
                    <a:pt x="3977" y="1979"/>
                  </a:cubicBezTo>
                  <a:cubicBezTo>
                    <a:pt x="3837" y="1954"/>
                    <a:pt x="3710" y="1827"/>
                    <a:pt x="3519" y="1763"/>
                  </a:cubicBezTo>
                  <a:cubicBezTo>
                    <a:pt x="3328" y="1699"/>
                    <a:pt x="3290" y="1336"/>
                    <a:pt x="3290" y="1273"/>
                  </a:cubicBezTo>
                  <a:cubicBezTo>
                    <a:pt x="3290" y="1203"/>
                    <a:pt x="3526" y="827"/>
                    <a:pt x="3526" y="827"/>
                  </a:cubicBezTo>
                  <a:cubicBezTo>
                    <a:pt x="3583" y="598"/>
                    <a:pt x="3169" y="617"/>
                    <a:pt x="3067" y="426"/>
                  </a:cubicBezTo>
                  <a:cubicBezTo>
                    <a:pt x="2991" y="394"/>
                    <a:pt x="2953" y="229"/>
                    <a:pt x="2940" y="121"/>
                  </a:cubicBezTo>
                  <a:cubicBezTo>
                    <a:pt x="2768" y="134"/>
                    <a:pt x="2679" y="0"/>
                    <a:pt x="2609" y="7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5" name="Freeform 499"/>
            <p:cNvSpPr>
              <a:spLocks noChangeArrowheads="1"/>
            </p:cNvSpPr>
            <p:nvPr/>
          </p:nvSpPr>
          <p:spPr bwMode="auto">
            <a:xfrm>
              <a:off x="15525704" y="7321962"/>
              <a:ext cx="1811579" cy="2264622"/>
            </a:xfrm>
            <a:custGeom>
              <a:avLst/>
              <a:gdLst>
                <a:gd name="T0" fmla="*/ 3258 w 3526"/>
                <a:gd name="T1" fmla="*/ 3532 h 4411"/>
                <a:gd name="T2" fmla="*/ 3258 w 3526"/>
                <a:gd name="T3" fmla="*/ 3532 h 4411"/>
                <a:gd name="T4" fmla="*/ 3525 w 3526"/>
                <a:gd name="T5" fmla="*/ 3181 h 4411"/>
                <a:gd name="T6" fmla="*/ 3321 w 3526"/>
                <a:gd name="T7" fmla="*/ 3092 h 4411"/>
                <a:gd name="T8" fmla="*/ 3111 w 3526"/>
                <a:gd name="T9" fmla="*/ 2882 h 4411"/>
                <a:gd name="T10" fmla="*/ 2685 w 3526"/>
                <a:gd name="T11" fmla="*/ 2825 h 4411"/>
                <a:gd name="T12" fmla="*/ 2589 w 3526"/>
                <a:gd name="T13" fmla="*/ 2386 h 4411"/>
                <a:gd name="T14" fmla="*/ 2392 w 3526"/>
                <a:gd name="T15" fmla="*/ 1711 h 4411"/>
                <a:gd name="T16" fmla="*/ 2398 w 3526"/>
                <a:gd name="T17" fmla="*/ 1234 h 4411"/>
                <a:gd name="T18" fmla="*/ 2634 w 3526"/>
                <a:gd name="T19" fmla="*/ 1030 h 4411"/>
                <a:gd name="T20" fmla="*/ 2583 w 3526"/>
                <a:gd name="T21" fmla="*/ 630 h 4411"/>
                <a:gd name="T22" fmla="*/ 2048 w 3526"/>
                <a:gd name="T23" fmla="*/ 179 h 4411"/>
                <a:gd name="T24" fmla="*/ 1348 w 3526"/>
                <a:gd name="T25" fmla="*/ 115 h 4411"/>
                <a:gd name="T26" fmla="*/ 706 w 3526"/>
                <a:gd name="T27" fmla="*/ 382 h 4411"/>
                <a:gd name="T28" fmla="*/ 235 w 3526"/>
                <a:gd name="T29" fmla="*/ 834 h 4411"/>
                <a:gd name="T30" fmla="*/ 591 w 3526"/>
                <a:gd name="T31" fmla="*/ 1126 h 4411"/>
                <a:gd name="T32" fmla="*/ 661 w 3526"/>
                <a:gd name="T33" fmla="*/ 1686 h 4411"/>
                <a:gd name="T34" fmla="*/ 591 w 3526"/>
                <a:gd name="T35" fmla="*/ 2214 h 4411"/>
                <a:gd name="T36" fmla="*/ 591 w 3526"/>
                <a:gd name="T37" fmla="*/ 2749 h 4411"/>
                <a:gd name="T38" fmla="*/ 140 w 3526"/>
                <a:gd name="T39" fmla="*/ 3162 h 4411"/>
                <a:gd name="T40" fmla="*/ 0 w 3526"/>
                <a:gd name="T41" fmla="*/ 3691 h 4411"/>
                <a:gd name="T42" fmla="*/ 38 w 3526"/>
                <a:gd name="T43" fmla="*/ 3862 h 4411"/>
                <a:gd name="T44" fmla="*/ 102 w 3526"/>
                <a:gd name="T45" fmla="*/ 4263 h 4411"/>
                <a:gd name="T46" fmla="*/ 337 w 3526"/>
                <a:gd name="T47" fmla="*/ 4372 h 4411"/>
                <a:gd name="T48" fmla="*/ 578 w 3526"/>
                <a:gd name="T49" fmla="*/ 4181 h 4411"/>
                <a:gd name="T50" fmla="*/ 973 w 3526"/>
                <a:gd name="T51" fmla="*/ 3735 h 4411"/>
                <a:gd name="T52" fmla="*/ 1017 w 3526"/>
                <a:gd name="T53" fmla="*/ 3913 h 4411"/>
                <a:gd name="T54" fmla="*/ 1304 w 3526"/>
                <a:gd name="T55" fmla="*/ 4244 h 4411"/>
                <a:gd name="T56" fmla="*/ 1539 w 3526"/>
                <a:gd name="T57" fmla="*/ 3875 h 4411"/>
                <a:gd name="T58" fmla="*/ 1781 w 3526"/>
                <a:gd name="T59" fmla="*/ 3691 h 4411"/>
                <a:gd name="T60" fmla="*/ 2004 w 3526"/>
                <a:gd name="T61" fmla="*/ 3913 h 4411"/>
                <a:gd name="T62" fmla="*/ 2144 w 3526"/>
                <a:gd name="T63" fmla="*/ 4041 h 4411"/>
                <a:gd name="T64" fmla="*/ 2424 w 3526"/>
                <a:gd name="T65" fmla="*/ 4009 h 4411"/>
                <a:gd name="T66" fmla="*/ 2558 w 3526"/>
                <a:gd name="T67" fmla="*/ 4225 h 4411"/>
                <a:gd name="T68" fmla="*/ 2717 w 3526"/>
                <a:gd name="T69" fmla="*/ 4066 h 4411"/>
                <a:gd name="T70" fmla="*/ 3258 w 3526"/>
                <a:gd name="T71" fmla="*/ 3532 h 4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26" h="4411">
                  <a:moveTo>
                    <a:pt x="3258" y="3532"/>
                  </a:moveTo>
                  <a:lnTo>
                    <a:pt x="3258" y="3532"/>
                  </a:lnTo>
                  <a:cubicBezTo>
                    <a:pt x="3258" y="3302"/>
                    <a:pt x="3474" y="3372"/>
                    <a:pt x="3525" y="3181"/>
                  </a:cubicBezTo>
                  <a:cubicBezTo>
                    <a:pt x="3525" y="3181"/>
                    <a:pt x="3461" y="3137"/>
                    <a:pt x="3321" y="3092"/>
                  </a:cubicBezTo>
                  <a:cubicBezTo>
                    <a:pt x="3321" y="3092"/>
                    <a:pt x="3289" y="2882"/>
                    <a:pt x="3111" y="2882"/>
                  </a:cubicBezTo>
                  <a:cubicBezTo>
                    <a:pt x="2939" y="2882"/>
                    <a:pt x="2723" y="2965"/>
                    <a:pt x="2685" y="2825"/>
                  </a:cubicBezTo>
                  <a:cubicBezTo>
                    <a:pt x="2647" y="2685"/>
                    <a:pt x="2869" y="2494"/>
                    <a:pt x="2589" y="2386"/>
                  </a:cubicBezTo>
                  <a:cubicBezTo>
                    <a:pt x="2309" y="2278"/>
                    <a:pt x="2284" y="1813"/>
                    <a:pt x="2392" y="1711"/>
                  </a:cubicBezTo>
                  <a:cubicBezTo>
                    <a:pt x="2494" y="1603"/>
                    <a:pt x="2481" y="1317"/>
                    <a:pt x="2398" y="1234"/>
                  </a:cubicBezTo>
                  <a:cubicBezTo>
                    <a:pt x="2309" y="1145"/>
                    <a:pt x="2570" y="1088"/>
                    <a:pt x="2634" y="1030"/>
                  </a:cubicBezTo>
                  <a:cubicBezTo>
                    <a:pt x="2691" y="967"/>
                    <a:pt x="2812" y="630"/>
                    <a:pt x="2583" y="630"/>
                  </a:cubicBezTo>
                  <a:cubicBezTo>
                    <a:pt x="2354" y="630"/>
                    <a:pt x="2297" y="179"/>
                    <a:pt x="2048" y="179"/>
                  </a:cubicBezTo>
                  <a:cubicBezTo>
                    <a:pt x="1800" y="179"/>
                    <a:pt x="1463" y="229"/>
                    <a:pt x="1348" y="115"/>
                  </a:cubicBezTo>
                  <a:cubicBezTo>
                    <a:pt x="1234" y="0"/>
                    <a:pt x="565" y="115"/>
                    <a:pt x="706" y="382"/>
                  </a:cubicBezTo>
                  <a:cubicBezTo>
                    <a:pt x="839" y="624"/>
                    <a:pt x="363" y="528"/>
                    <a:pt x="235" y="834"/>
                  </a:cubicBezTo>
                  <a:cubicBezTo>
                    <a:pt x="356" y="928"/>
                    <a:pt x="432" y="1126"/>
                    <a:pt x="591" y="1126"/>
                  </a:cubicBezTo>
                  <a:cubicBezTo>
                    <a:pt x="591" y="1126"/>
                    <a:pt x="737" y="1527"/>
                    <a:pt x="661" y="1686"/>
                  </a:cubicBezTo>
                  <a:cubicBezTo>
                    <a:pt x="591" y="1845"/>
                    <a:pt x="591" y="2106"/>
                    <a:pt x="591" y="2214"/>
                  </a:cubicBezTo>
                  <a:cubicBezTo>
                    <a:pt x="591" y="2322"/>
                    <a:pt x="667" y="2666"/>
                    <a:pt x="591" y="2749"/>
                  </a:cubicBezTo>
                  <a:cubicBezTo>
                    <a:pt x="515" y="2825"/>
                    <a:pt x="140" y="3086"/>
                    <a:pt x="140" y="3162"/>
                  </a:cubicBezTo>
                  <a:cubicBezTo>
                    <a:pt x="140" y="3232"/>
                    <a:pt x="153" y="3621"/>
                    <a:pt x="0" y="3691"/>
                  </a:cubicBezTo>
                  <a:cubicBezTo>
                    <a:pt x="0" y="3754"/>
                    <a:pt x="6" y="3831"/>
                    <a:pt x="38" y="3862"/>
                  </a:cubicBezTo>
                  <a:cubicBezTo>
                    <a:pt x="96" y="3920"/>
                    <a:pt x="153" y="4161"/>
                    <a:pt x="102" y="4263"/>
                  </a:cubicBezTo>
                  <a:cubicBezTo>
                    <a:pt x="51" y="4372"/>
                    <a:pt x="185" y="4410"/>
                    <a:pt x="337" y="4372"/>
                  </a:cubicBezTo>
                  <a:cubicBezTo>
                    <a:pt x="489" y="4327"/>
                    <a:pt x="540" y="4340"/>
                    <a:pt x="578" y="4181"/>
                  </a:cubicBezTo>
                  <a:cubicBezTo>
                    <a:pt x="616" y="4028"/>
                    <a:pt x="890" y="3735"/>
                    <a:pt x="973" y="3735"/>
                  </a:cubicBezTo>
                  <a:cubicBezTo>
                    <a:pt x="1062" y="3735"/>
                    <a:pt x="928" y="3875"/>
                    <a:pt x="1017" y="3913"/>
                  </a:cubicBezTo>
                  <a:cubicBezTo>
                    <a:pt x="1087" y="3945"/>
                    <a:pt x="1221" y="4136"/>
                    <a:pt x="1304" y="4244"/>
                  </a:cubicBezTo>
                  <a:cubicBezTo>
                    <a:pt x="1367" y="4098"/>
                    <a:pt x="1476" y="3875"/>
                    <a:pt x="1539" y="3875"/>
                  </a:cubicBezTo>
                  <a:cubicBezTo>
                    <a:pt x="1635" y="3875"/>
                    <a:pt x="1781" y="3799"/>
                    <a:pt x="1781" y="3691"/>
                  </a:cubicBezTo>
                  <a:cubicBezTo>
                    <a:pt x="1781" y="3582"/>
                    <a:pt x="2004" y="3831"/>
                    <a:pt x="2004" y="3913"/>
                  </a:cubicBezTo>
                  <a:cubicBezTo>
                    <a:pt x="2004" y="3996"/>
                    <a:pt x="2074" y="4111"/>
                    <a:pt x="2144" y="4041"/>
                  </a:cubicBezTo>
                  <a:cubicBezTo>
                    <a:pt x="2214" y="3971"/>
                    <a:pt x="2335" y="3971"/>
                    <a:pt x="2424" y="4009"/>
                  </a:cubicBezTo>
                  <a:cubicBezTo>
                    <a:pt x="2468" y="4028"/>
                    <a:pt x="2513" y="4123"/>
                    <a:pt x="2558" y="4225"/>
                  </a:cubicBezTo>
                  <a:cubicBezTo>
                    <a:pt x="2596" y="4187"/>
                    <a:pt x="2647" y="4130"/>
                    <a:pt x="2717" y="4066"/>
                  </a:cubicBezTo>
                  <a:cubicBezTo>
                    <a:pt x="2850" y="3932"/>
                    <a:pt x="3258" y="3761"/>
                    <a:pt x="3258" y="353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6" name="Freeform 500"/>
            <p:cNvSpPr>
              <a:spLocks noChangeArrowheads="1"/>
            </p:cNvSpPr>
            <p:nvPr/>
          </p:nvSpPr>
          <p:spPr bwMode="auto">
            <a:xfrm>
              <a:off x="16698701" y="7518984"/>
              <a:ext cx="2481864" cy="2491084"/>
            </a:xfrm>
            <a:custGeom>
              <a:avLst/>
              <a:gdLst>
                <a:gd name="T0" fmla="*/ 2928 w 4832"/>
                <a:gd name="T1" fmla="*/ 642 h 4850"/>
                <a:gd name="T2" fmla="*/ 2928 w 4832"/>
                <a:gd name="T3" fmla="*/ 642 h 4850"/>
                <a:gd name="T4" fmla="*/ 2794 w 4832"/>
                <a:gd name="T5" fmla="*/ 477 h 4850"/>
                <a:gd name="T6" fmla="*/ 2527 w 4832"/>
                <a:gd name="T7" fmla="*/ 629 h 4850"/>
                <a:gd name="T8" fmla="*/ 2151 w 4832"/>
                <a:gd name="T9" fmla="*/ 299 h 4850"/>
                <a:gd name="T10" fmla="*/ 1845 w 4832"/>
                <a:gd name="T11" fmla="*/ 299 h 4850"/>
                <a:gd name="T12" fmla="*/ 1355 w 4832"/>
                <a:gd name="T13" fmla="*/ 667 h 4850"/>
                <a:gd name="T14" fmla="*/ 942 w 4832"/>
                <a:gd name="T15" fmla="*/ 820 h 4850"/>
                <a:gd name="T16" fmla="*/ 95 w 4832"/>
                <a:gd name="T17" fmla="*/ 807 h 4850"/>
                <a:gd name="T18" fmla="*/ 114 w 4832"/>
                <a:gd name="T19" fmla="*/ 852 h 4850"/>
                <a:gd name="T20" fmla="*/ 108 w 4832"/>
                <a:gd name="T21" fmla="*/ 1329 h 4850"/>
                <a:gd name="T22" fmla="*/ 305 w 4832"/>
                <a:gd name="T23" fmla="*/ 2004 h 4850"/>
                <a:gd name="T24" fmla="*/ 401 w 4832"/>
                <a:gd name="T25" fmla="*/ 2443 h 4850"/>
                <a:gd name="T26" fmla="*/ 827 w 4832"/>
                <a:gd name="T27" fmla="*/ 2500 h 4850"/>
                <a:gd name="T28" fmla="*/ 1037 w 4832"/>
                <a:gd name="T29" fmla="*/ 2710 h 4850"/>
                <a:gd name="T30" fmla="*/ 1241 w 4832"/>
                <a:gd name="T31" fmla="*/ 2799 h 4850"/>
                <a:gd name="T32" fmla="*/ 974 w 4832"/>
                <a:gd name="T33" fmla="*/ 3150 h 4850"/>
                <a:gd name="T34" fmla="*/ 433 w 4832"/>
                <a:gd name="T35" fmla="*/ 3684 h 4850"/>
                <a:gd name="T36" fmla="*/ 274 w 4832"/>
                <a:gd name="T37" fmla="*/ 3843 h 4850"/>
                <a:gd name="T38" fmla="*/ 363 w 4832"/>
                <a:gd name="T39" fmla="*/ 4085 h 4850"/>
                <a:gd name="T40" fmla="*/ 630 w 4832"/>
                <a:gd name="T41" fmla="*/ 4480 h 4850"/>
                <a:gd name="T42" fmla="*/ 897 w 4832"/>
                <a:gd name="T43" fmla="*/ 4664 h 4850"/>
                <a:gd name="T44" fmla="*/ 1254 w 4832"/>
                <a:gd name="T45" fmla="*/ 4639 h 4850"/>
                <a:gd name="T46" fmla="*/ 1400 w 4832"/>
                <a:gd name="T47" fmla="*/ 4721 h 4850"/>
                <a:gd name="T48" fmla="*/ 1578 w 4832"/>
                <a:gd name="T49" fmla="*/ 4607 h 4850"/>
                <a:gd name="T50" fmla="*/ 1916 w 4832"/>
                <a:gd name="T51" fmla="*/ 4607 h 4850"/>
                <a:gd name="T52" fmla="*/ 1890 w 4832"/>
                <a:gd name="T53" fmla="*/ 4410 h 4850"/>
                <a:gd name="T54" fmla="*/ 2017 w 4832"/>
                <a:gd name="T55" fmla="*/ 4505 h 4850"/>
                <a:gd name="T56" fmla="*/ 2158 w 4832"/>
                <a:gd name="T57" fmla="*/ 4652 h 4850"/>
                <a:gd name="T58" fmla="*/ 2469 w 4832"/>
                <a:gd name="T59" fmla="*/ 4779 h 4850"/>
                <a:gd name="T60" fmla="*/ 2966 w 4832"/>
                <a:gd name="T61" fmla="*/ 4779 h 4850"/>
                <a:gd name="T62" fmla="*/ 2794 w 4832"/>
                <a:gd name="T63" fmla="*/ 4460 h 4850"/>
                <a:gd name="T64" fmla="*/ 2603 w 4832"/>
                <a:gd name="T65" fmla="*/ 4340 h 4850"/>
                <a:gd name="T66" fmla="*/ 2857 w 4832"/>
                <a:gd name="T67" fmla="*/ 4123 h 4850"/>
                <a:gd name="T68" fmla="*/ 2947 w 4832"/>
                <a:gd name="T69" fmla="*/ 3881 h 4850"/>
                <a:gd name="T70" fmla="*/ 3208 w 4832"/>
                <a:gd name="T71" fmla="*/ 3614 h 4850"/>
                <a:gd name="T72" fmla="*/ 3558 w 4832"/>
                <a:gd name="T73" fmla="*/ 3417 h 4850"/>
                <a:gd name="T74" fmla="*/ 3831 w 4832"/>
                <a:gd name="T75" fmla="*/ 3245 h 4850"/>
                <a:gd name="T76" fmla="*/ 3723 w 4832"/>
                <a:gd name="T77" fmla="*/ 2895 h 4850"/>
                <a:gd name="T78" fmla="*/ 4054 w 4832"/>
                <a:gd name="T79" fmla="*/ 2946 h 4850"/>
                <a:gd name="T80" fmla="*/ 4048 w 4832"/>
                <a:gd name="T81" fmla="*/ 2882 h 4850"/>
                <a:gd name="T82" fmla="*/ 4385 w 4832"/>
                <a:gd name="T83" fmla="*/ 2799 h 4850"/>
                <a:gd name="T84" fmla="*/ 4468 w 4832"/>
                <a:gd name="T85" fmla="*/ 2723 h 4850"/>
                <a:gd name="T86" fmla="*/ 4665 w 4832"/>
                <a:gd name="T87" fmla="*/ 2176 h 4850"/>
                <a:gd name="T88" fmla="*/ 4449 w 4832"/>
                <a:gd name="T89" fmla="*/ 1864 h 4850"/>
                <a:gd name="T90" fmla="*/ 4277 w 4832"/>
                <a:gd name="T91" fmla="*/ 1597 h 4850"/>
                <a:gd name="T92" fmla="*/ 4569 w 4832"/>
                <a:gd name="T93" fmla="*/ 1259 h 4850"/>
                <a:gd name="T94" fmla="*/ 4372 w 4832"/>
                <a:gd name="T95" fmla="*/ 896 h 4850"/>
                <a:gd name="T96" fmla="*/ 4181 w 4832"/>
                <a:gd name="T97" fmla="*/ 718 h 4850"/>
                <a:gd name="T98" fmla="*/ 4181 w 4832"/>
                <a:gd name="T99" fmla="*/ 407 h 4850"/>
                <a:gd name="T100" fmla="*/ 4181 w 4832"/>
                <a:gd name="T101" fmla="*/ 236 h 4850"/>
                <a:gd name="T102" fmla="*/ 4347 w 4832"/>
                <a:gd name="T103" fmla="*/ 89 h 4850"/>
                <a:gd name="T104" fmla="*/ 3895 w 4832"/>
                <a:gd name="T105" fmla="*/ 0 h 4850"/>
                <a:gd name="T106" fmla="*/ 3545 w 4832"/>
                <a:gd name="T107" fmla="*/ 153 h 4850"/>
                <a:gd name="T108" fmla="*/ 3430 w 4832"/>
                <a:gd name="T109" fmla="*/ 306 h 4850"/>
                <a:gd name="T110" fmla="*/ 3347 w 4832"/>
                <a:gd name="T111" fmla="*/ 648 h 4850"/>
                <a:gd name="T112" fmla="*/ 3437 w 4832"/>
                <a:gd name="T113" fmla="*/ 483 h 4850"/>
                <a:gd name="T114" fmla="*/ 3379 w 4832"/>
                <a:gd name="T115" fmla="*/ 801 h 4850"/>
                <a:gd name="T116" fmla="*/ 3093 w 4832"/>
                <a:gd name="T117" fmla="*/ 865 h 4850"/>
                <a:gd name="T118" fmla="*/ 3201 w 4832"/>
                <a:gd name="T119" fmla="*/ 464 h 4850"/>
                <a:gd name="T120" fmla="*/ 2928 w 4832"/>
                <a:gd name="T121" fmla="*/ 642 h 4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832" h="4850">
                  <a:moveTo>
                    <a:pt x="2928" y="642"/>
                  </a:moveTo>
                  <a:lnTo>
                    <a:pt x="2928" y="642"/>
                  </a:lnTo>
                  <a:cubicBezTo>
                    <a:pt x="2794" y="591"/>
                    <a:pt x="2908" y="477"/>
                    <a:pt x="2794" y="477"/>
                  </a:cubicBezTo>
                  <a:cubicBezTo>
                    <a:pt x="2679" y="477"/>
                    <a:pt x="2628" y="731"/>
                    <a:pt x="2527" y="629"/>
                  </a:cubicBezTo>
                  <a:cubicBezTo>
                    <a:pt x="2418" y="521"/>
                    <a:pt x="2278" y="299"/>
                    <a:pt x="2151" y="299"/>
                  </a:cubicBezTo>
                  <a:cubicBezTo>
                    <a:pt x="2024" y="299"/>
                    <a:pt x="1960" y="248"/>
                    <a:pt x="1845" y="299"/>
                  </a:cubicBezTo>
                  <a:cubicBezTo>
                    <a:pt x="1731" y="350"/>
                    <a:pt x="1496" y="667"/>
                    <a:pt x="1355" y="667"/>
                  </a:cubicBezTo>
                  <a:cubicBezTo>
                    <a:pt x="1216" y="667"/>
                    <a:pt x="1037" y="718"/>
                    <a:pt x="942" y="820"/>
                  </a:cubicBezTo>
                  <a:cubicBezTo>
                    <a:pt x="853" y="909"/>
                    <a:pt x="318" y="928"/>
                    <a:pt x="95" y="807"/>
                  </a:cubicBezTo>
                  <a:cubicBezTo>
                    <a:pt x="95" y="820"/>
                    <a:pt x="95" y="833"/>
                    <a:pt x="114" y="852"/>
                  </a:cubicBezTo>
                  <a:cubicBezTo>
                    <a:pt x="197" y="935"/>
                    <a:pt x="210" y="1221"/>
                    <a:pt x="108" y="1329"/>
                  </a:cubicBezTo>
                  <a:cubicBezTo>
                    <a:pt x="0" y="1431"/>
                    <a:pt x="25" y="1896"/>
                    <a:pt x="305" y="2004"/>
                  </a:cubicBezTo>
                  <a:cubicBezTo>
                    <a:pt x="585" y="2112"/>
                    <a:pt x="363" y="2303"/>
                    <a:pt x="401" y="2443"/>
                  </a:cubicBezTo>
                  <a:cubicBezTo>
                    <a:pt x="439" y="2583"/>
                    <a:pt x="655" y="2500"/>
                    <a:pt x="827" y="2500"/>
                  </a:cubicBezTo>
                  <a:cubicBezTo>
                    <a:pt x="1005" y="2500"/>
                    <a:pt x="1037" y="2710"/>
                    <a:pt x="1037" y="2710"/>
                  </a:cubicBezTo>
                  <a:cubicBezTo>
                    <a:pt x="1177" y="2755"/>
                    <a:pt x="1241" y="2799"/>
                    <a:pt x="1241" y="2799"/>
                  </a:cubicBezTo>
                  <a:cubicBezTo>
                    <a:pt x="1190" y="2990"/>
                    <a:pt x="974" y="2920"/>
                    <a:pt x="974" y="3150"/>
                  </a:cubicBezTo>
                  <a:cubicBezTo>
                    <a:pt x="974" y="3379"/>
                    <a:pt x="566" y="3550"/>
                    <a:pt x="433" y="3684"/>
                  </a:cubicBezTo>
                  <a:cubicBezTo>
                    <a:pt x="363" y="3748"/>
                    <a:pt x="312" y="3805"/>
                    <a:pt x="274" y="3843"/>
                  </a:cubicBezTo>
                  <a:cubicBezTo>
                    <a:pt x="312" y="3939"/>
                    <a:pt x="343" y="4041"/>
                    <a:pt x="363" y="4085"/>
                  </a:cubicBezTo>
                  <a:cubicBezTo>
                    <a:pt x="394" y="4168"/>
                    <a:pt x="547" y="4295"/>
                    <a:pt x="630" y="4480"/>
                  </a:cubicBezTo>
                  <a:cubicBezTo>
                    <a:pt x="713" y="4664"/>
                    <a:pt x="808" y="4664"/>
                    <a:pt x="897" y="4664"/>
                  </a:cubicBezTo>
                  <a:cubicBezTo>
                    <a:pt x="986" y="4664"/>
                    <a:pt x="1146" y="4639"/>
                    <a:pt x="1254" y="4639"/>
                  </a:cubicBezTo>
                  <a:cubicBezTo>
                    <a:pt x="1292" y="4639"/>
                    <a:pt x="1349" y="4670"/>
                    <a:pt x="1400" y="4721"/>
                  </a:cubicBezTo>
                  <a:cubicBezTo>
                    <a:pt x="1451" y="4670"/>
                    <a:pt x="1521" y="4607"/>
                    <a:pt x="1578" y="4607"/>
                  </a:cubicBezTo>
                  <a:cubicBezTo>
                    <a:pt x="1674" y="4607"/>
                    <a:pt x="1858" y="4664"/>
                    <a:pt x="1916" y="4607"/>
                  </a:cubicBezTo>
                  <a:cubicBezTo>
                    <a:pt x="1916" y="4607"/>
                    <a:pt x="1814" y="4486"/>
                    <a:pt x="1890" y="4410"/>
                  </a:cubicBezTo>
                  <a:cubicBezTo>
                    <a:pt x="1966" y="4333"/>
                    <a:pt x="2017" y="4429"/>
                    <a:pt x="2017" y="4505"/>
                  </a:cubicBezTo>
                  <a:cubicBezTo>
                    <a:pt x="2017" y="4581"/>
                    <a:pt x="2087" y="4652"/>
                    <a:pt x="2158" y="4652"/>
                  </a:cubicBezTo>
                  <a:cubicBezTo>
                    <a:pt x="2227" y="4652"/>
                    <a:pt x="2310" y="4779"/>
                    <a:pt x="2469" y="4779"/>
                  </a:cubicBezTo>
                  <a:cubicBezTo>
                    <a:pt x="2628" y="4779"/>
                    <a:pt x="2889" y="4849"/>
                    <a:pt x="2966" y="4779"/>
                  </a:cubicBezTo>
                  <a:cubicBezTo>
                    <a:pt x="3036" y="4702"/>
                    <a:pt x="2896" y="4492"/>
                    <a:pt x="2794" y="4460"/>
                  </a:cubicBezTo>
                  <a:cubicBezTo>
                    <a:pt x="2698" y="4435"/>
                    <a:pt x="2565" y="4441"/>
                    <a:pt x="2603" y="4340"/>
                  </a:cubicBezTo>
                  <a:cubicBezTo>
                    <a:pt x="2641" y="4238"/>
                    <a:pt x="2857" y="4187"/>
                    <a:pt x="2857" y="4123"/>
                  </a:cubicBezTo>
                  <a:cubicBezTo>
                    <a:pt x="2857" y="4059"/>
                    <a:pt x="2870" y="3951"/>
                    <a:pt x="2947" y="3881"/>
                  </a:cubicBezTo>
                  <a:cubicBezTo>
                    <a:pt x="3017" y="3805"/>
                    <a:pt x="3106" y="3646"/>
                    <a:pt x="3208" y="3614"/>
                  </a:cubicBezTo>
                  <a:cubicBezTo>
                    <a:pt x="3316" y="3589"/>
                    <a:pt x="3449" y="3417"/>
                    <a:pt x="3558" y="3417"/>
                  </a:cubicBezTo>
                  <a:cubicBezTo>
                    <a:pt x="3666" y="3417"/>
                    <a:pt x="3889" y="3372"/>
                    <a:pt x="3831" y="3245"/>
                  </a:cubicBezTo>
                  <a:cubicBezTo>
                    <a:pt x="3780" y="3124"/>
                    <a:pt x="3628" y="2984"/>
                    <a:pt x="3723" y="2895"/>
                  </a:cubicBezTo>
                  <a:cubicBezTo>
                    <a:pt x="3793" y="2825"/>
                    <a:pt x="3882" y="2959"/>
                    <a:pt x="4054" y="2946"/>
                  </a:cubicBezTo>
                  <a:cubicBezTo>
                    <a:pt x="4048" y="2920"/>
                    <a:pt x="4048" y="2895"/>
                    <a:pt x="4048" y="2882"/>
                  </a:cubicBezTo>
                  <a:cubicBezTo>
                    <a:pt x="4048" y="2793"/>
                    <a:pt x="4302" y="2825"/>
                    <a:pt x="4385" y="2799"/>
                  </a:cubicBezTo>
                  <a:cubicBezTo>
                    <a:pt x="4474" y="2780"/>
                    <a:pt x="4468" y="2723"/>
                    <a:pt x="4468" y="2723"/>
                  </a:cubicBezTo>
                  <a:cubicBezTo>
                    <a:pt x="4818" y="2640"/>
                    <a:pt x="4831" y="2259"/>
                    <a:pt x="4665" y="2176"/>
                  </a:cubicBezTo>
                  <a:cubicBezTo>
                    <a:pt x="4506" y="2099"/>
                    <a:pt x="4493" y="2004"/>
                    <a:pt x="4449" y="1864"/>
                  </a:cubicBezTo>
                  <a:cubicBezTo>
                    <a:pt x="4398" y="1730"/>
                    <a:pt x="4302" y="1724"/>
                    <a:pt x="4277" y="1597"/>
                  </a:cubicBezTo>
                  <a:cubicBezTo>
                    <a:pt x="4245" y="1476"/>
                    <a:pt x="4538" y="1406"/>
                    <a:pt x="4569" y="1259"/>
                  </a:cubicBezTo>
                  <a:cubicBezTo>
                    <a:pt x="4595" y="1113"/>
                    <a:pt x="4398" y="1017"/>
                    <a:pt x="4372" y="896"/>
                  </a:cubicBezTo>
                  <a:cubicBezTo>
                    <a:pt x="4347" y="776"/>
                    <a:pt x="4054" y="846"/>
                    <a:pt x="4181" y="718"/>
                  </a:cubicBezTo>
                  <a:cubicBezTo>
                    <a:pt x="4302" y="591"/>
                    <a:pt x="4264" y="495"/>
                    <a:pt x="4181" y="407"/>
                  </a:cubicBezTo>
                  <a:cubicBezTo>
                    <a:pt x="4092" y="325"/>
                    <a:pt x="4181" y="236"/>
                    <a:pt x="4181" y="236"/>
                  </a:cubicBezTo>
                  <a:cubicBezTo>
                    <a:pt x="4347" y="236"/>
                    <a:pt x="4385" y="134"/>
                    <a:pt x="4347" y="89"/>
                  </a:cubicBezTo>
                  <a:cubicBezTo>
                    <a:pt x="4302" y="51"/>
                    <a:pt x="4016" y="0"/>
                    <a:pt x="3895" y="0"/>
                  </a:cubicBezTo>
                  <a:cubicBezTo>
                    <a:pt x="3774" y="0"/>
                    <a:pt x="3634" y="140"/>
                    <a:pt x="3545" y="153"/>
                  </a:cubicBezTo>
                  <a:cubicBezTo>
                    <a:pt x="3449" y="166"/>
                    <a:pt x="3507" y="267"/>
                    <a:pt x="3430" y="306"/>
                  </a:cubicBezTo>
                  <a:cubicBezTo>
                    <a:pt x="3347" y="337"/>
                    <a:pt x="3271" y="648"/>
                    <a:pt x="3347" y="648"/>
                  </a:cubicBezTo>
                  <a:cubicBezTo>
                    <a:pt x="3424" y="648"/>
                    <a:pt x="3347" y="483"/>
                    <a:pt x="3437" y="483"/>
                  </a:cubicBezTo>
                  <a:cubicBezTo>
                    <a:pt x="3526" y="483"/>
                    <a:pt x="3443" y="801"/>
                    <a:pt x="3379" y="801"/>
                  </a:cubicBezTo>
                  <a:cubicBezTo>
                    <a:pt x="3322" y="801"/>
                    <a:pt x="3214" y="865"/>
                    <a:pt x="3093" y="865"/>
                  </a:cubicBezTo>
                  <a:cubicBezTo>
                    <a:pt x="2998" y="865"/>
                    <a:pt x="3163" y="674"/>
                    <a:pt x="3201" y="464"/>
                  </a:cubicBezTo>
                  <a:cubicBezTo>
                    <a:pt x="3131" y="546"/>
                    <a:pt x="3017" y="674"/>
                    <a:pt x="2928" y="64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7" name="Freeform 501"/>
            <p:cNvSpPr>
              <a:spLocks noChangeArrowheads="1"/>
            </p:cNvSpPr>
            <p:nvPr/>
          </p:nvSpPr>
          <p:spPr bwMode="auto">
            <a:xfrm>
              <a:off x="17776592" y="5999422"/>
              <a:ext cx="1304337" cy="1895489"/>
            </a:xfrm>
            <a:custGeom>
              <a:avLst/>
              <a:gdLst>
                <a:gd name="T0" fmla="*/ 2126 w 2541"/>
                <a:gd name="T1" fmla="*/ 439 h 3691"/>
                <a:gd name="T2" fmla="*/ 2126 w 2541"/>
                <a:gd name="T3" fmla="*/ 439 h 3691"/>
                <a:gd name="T4" fmla="*/ 1591 w 2541"/>
                <a:gd name="T5" fmla="*/ 235 h 3691"/>
                <a:gd name="T6" fmla="*/ 1298 w 2541"/>
                <a:gd name="T7" fmla="*/ 235 h 3691"/>
                <a:gd name="T8" fmla="*/ 1114 w 2541"/>
                <a:gd name="T9" fmla="*/ 44 h 3691"/>
                <a:gd name="T10" fmla="*/ 859 w 2541"/>
                <a:gd name="T11" fmla="*/ 299 h 3691"/>
                <a:gd name="T12" fmla="*/ 649 w 2541"/>
                <a:gd name="T13" fmla="*/ 445 h 3691"/>
                <a:gd name="T14" fmla="*/ 598 w 2541"/>
                <a:gd name="T15" fmla="*/ 751 h 3691"/>
                <a:gd name="T16" fmla="*/ 236 w 2541"/>
                <a:gd name="T17" fmla="*/ 764 h 3691"/>
                <a:gd name="T18" fmla="*/ 261 w 2541"/>
                <a:gd name="T19" fmla="*/ 1094 h 3691"/>
                <a:gd name="T20" fmla="*/ 338 w 2541"/>
                <a:gd name="T21" fmla="*/ 1508 h 3691"/>
                <a:gd name="T22" fmla="*/ 229 w 2541"/>
                <a:gd name="T23" fmla="*/ 1801 h 3691"/>
                <a:gd name="T24" fmla="*/ 0 w 2541"/>
                <a:gd name="T25" fmla="*/ 2164 h 3691"/>
                <a:gd name="T26" fmla="*/ 325 w 2541"/>
                <a:gd name="T27" fmla="*/ 2444 h 3691"/>
                <a:gd name="T28" fmla="*/ 325 w 2541"/>
                <a:gd name="T29" fmla="*/ 2889 h 3691"/>
                <a:gd name="T30" fmla="*/ 210 w 2541"/>
                <a:gd name="T31" fmla="*/ 3347 h 3691"/>
                <a:gd name="T32" fmla="*/ 427 w 2541"/>
                <a:gd name="T33" fmla="*/ 3588 h 3691"/>
                <a:gd name="T34" fmla="*/ 694 w 2541"/>
                <a:gd name="T35" fmla="*/ 3436 h 3691"/>
                <a:gd name="T36" fmla="*/ 828 w 2541"/>
                <a:gd name="T37" fmla="*/ 3601 h 3691"/>
                <a:gd name="T38" fmla="*/ 1101 w 2541"/>
                <a:gd name="T39" fmla="*/ 3423 h 3691"/>
                <a:gd name="T40" fmla="*/ 1095 w 2541"/>
                <a:gd name="T41" fmla="*/ 3246 h 3691"/>
                <a:gd name="T42" fmla="*/ 1426 w 2541"/>
                <a:gd name="T43" fmla="*/ 2724 h 3691"/>
                <a:gd name="T44" fmla="*/ 1598 w 2541"/>
                <a:gd name="T45" fmla="*/ 2246 h 3691"/>
                <a:gd name="T46" fmla="*/ 2221 w 2541"/>
                <a:gd name="T47" fmla="*/ 1483 h 3691"/>
                <a:gd name="T48" fmla="*/ 2342 w 2541"/>
                <a:gd name="T49" fmla="*/ 1285 h 3691"/>
                <a:gd name="T50" fmla="*/ 2349 w 2541"/>
                <a:gd name="T51" fmla="*/ 1037 h 3691"/>
                <a:gd name="T52" fmla="*/ 2540 w 2541"/>
                <a:gd name="T53" fmla="*/ 1050 h 3691"/>
                <a:gd name="T54" fmla="*/ 2126 w 2541"/>
                <a:gd name="T55" fmla="*/ 439 h 3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41" h="3691">
                  <a:moveTo>
                    <a:pt x="2126" y="439"/>
                  </a:moveTo>
                  <a:lnTo>
                    <a:pt x="2126" y="439"/>
                  </a:lnTo>
                  <a:cubicBezTo>
                    <a:pt x="2018" y="337"/>
                    <a:pt x="1712" y="235"/>
                    <a:pt x="1591" y="235"/>
                  </a:cubicBezTo>
                  <a:cubicBezTo>
                    <a:pt x="1470" y="235"/>
                    <a:pt x="1419" y="203"/>
                    <a:pt x="1298" y="235"/>
                  </a:cubicBezTo>
                  <a:cubicBezTo>
                    <a:pt x="1184" y="261"/>
                    <a:pt x="1158" y="95"/>
                    <a:pt x="1114" y="44"/>
                  </a:cubicBezTo>
                  <a:cubicBezTo>
                    <a:pt x="1063" y="0"/>
                    <a:pt x="917" y="242"/>
                    <a:pt x="859" y="299"/>
                  </a:cubicBezTo>
                  <a:cubicBezTo>
                    <a:pt x="802" y="356"/>
                    <a:pt x="713" y="331"/>
                    <a:pt x="649" y="445"/>
                  </a:cubicBezTo>
                  <a:cubicBezTo>
                    <a:pt x="586" y="560"/>
                    <a:pt x="649" y="623"/>
                    <a:pt x="598" y="751"/>
                  </a:cubicBezTo>
                  <a:cubicBezTo>
                    <a:pt x="548" y="872"/>
                    <a:pt x="287" y="706"/>
                    <a:pt x="236" y="764"/>
                  </a:cubicBezTo>
                  <a:cubicBezTo>
                    <a:pt x="185" y="814"/>
                    <a:pt x="312" y="974"/>
                    <a:pt x="261" y="1094"/>
                  </a:cubicBezTo>
                  <a:cubicBezTo>
                    <a:pt x="210" y="1215"/>
                    <a:pt x="338" y="1508"/>
                    <a:pt x="338" y="1508"/>
                  </a:cubicBezTo>
                  <a:cubicBezTo>
                    <a:pt x="376" y="1546"/>
                    <a:pt x="325" y="1667"/>
                    <a:pt x="229" y="1801"/>
                  </a:cubicBezTo>
                  <a:cubicBezTo>
                    <a:pt x="134" y="1935"/>
                    <a:pt x="0" y="2074"/>
                    <a:pt x="0" y="2164"/>
                  </a:cubicBezTo>
                  <a:cubicBezTo>
                    <a:pt x="0" y="2342"/>
                    <a:pt x="471" y="2291"/>
                    <a:pt x="325" y="2444"/>
                  </a:cubicBezTo>
                  <a:cubicBezTo>
                    <a:pt x="172" y="2590"/>
                    <a:pt x="325" y="2762"/>
                    <a:pt x="325" y="2889"/>
                  </a:cubicBezTo>
                  <a:cubicBezTo>
                    <a:pt x="325" y="2965"/>
                    <a:pt x="261" y="3195"/>
                    <a:pt x="210" y="3347"/>
                  </a:cubicBezTo>
                  <a:cubicBezTo>
                    <a:pt x="287" y="3423"/>
                    <a:pt x="363" y="3525"/>
                    <a:pt x="427" y="3588"/>
                  </a:cubicBezTo>
                  <a:cubicBezTo>
                    <a:pt x="528" y="3690"/>
                    <a:pt x="579" y="3436"/>
                    <a:pt x="694" y="3436"/>
                  </a:cubicBezTo>
                  <a:cubicBezTo>
                    <a:pt x="808" y="3436"/>
                    <a:pt x="694" y="3550"/>
                    <a:pt x="828" y="3601"/>
                  </a:cubicBezTo>
                  <a:cubicBezTo>
                    <a:pt x="917" y="3633"/>
                    <a:pt x="1031" y="3505"/>
                    <a:pt x="1101" y="3423"/>
                  </a:cubicBezTo>
                  <a:cubicBezTo>
                    <a:pt x="1108" y="3366"/>
                    <a:pt x="1114" y="3303"/>
                    <a:pt x="1095" y="3246"/>
                  </a:cubicBezTo>
                  <a:cubicBezTo>
                    <a:pt x="1018" y="2978"/>
                    <a:pt x="1229" y="2857"/>
                    <a:pt x="1426" y="2724"/>
                  </a:cubicBezTo>
                  <a:cubicBezTo>
                    <a:pt x="1617" y="2590"/>
                    <a:pt x="1598" y="2246"/>
                    <a:pt x="1598" y="2246"/>
                  </a:cubicBezTo>
                  <a:cubicBezTo>
                    <a:pt x="1598" y="2246"/>
                    <a:pt x="2011" y="1769"/>
                    <a:pt x="2221" y="1483"/>
                  </a:cubicBezTo>
                  <a:cubicBezTo>
                    <a:pt x="2349" y="1400"/>
                    <a:pt x="2393" y="1298"/>
                    <a:pt x="2342" y="1285"/>
                  </a:cubicBezTo>
                  <a:cubicBezTo>
                    <a:pt x="2158" y="1241"/>
                    <a:pt x="2285" y="1094"/>
                    <a:pt x="2349" y="1037"/>
                  </a:cubicBezTo>
                  <a:cubicBezTo>
                    <a:pt x="2374" y="1005"/>
                    <a:pt x="2451" y="1024"/>
                    <a:pt x="2540" y="1050"/>
                  </a:cubicBezTo>
                  <a:cubicBezTo>
                    <a:pt x="2501" y="808"/>
                    <a:pt x="2215" y="534"/>
                    <a:pt x="2126" y="43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8" name="Freeform 502"/>
            <p:cNvSpPr>
              <a:spLocks noChangeArrowheads="1"/>
            </p:cNvSpPr>
            <p:nvPr/>
          </p:nvSpPr>
          <p:spPr bwMode="auto">
            <a:xfrm>
              <a:off x="14078706" y="5152455"/>
              <a:ext cx="2210127" cy="2631491"/>
            </a:xfrm>
            <a:custGeom>
              <a:avLst/>
              <a:gdLst>
                <a:gd name="T0" fmla="*/ 4250 w 4302"/>
                <a:gd name="T1" fmla="*/ 3965 h 5124"/>
                <a:gd name="T2" fmla="*/ 4250 w 4302"/>
                <a:gd name="T3" fmla="*/ 3965 h 5124"/>
                <a:gd name="T4" fmla="*/ 4116 w 4302"/>
                <a:gd name="T5" fmla="*/ 3488 h 5124"/>
                <a:gd name="T6" fmla="*/ 3983 w 4302"/>
                <a:gd name="T7" fmla="*/ 3087 h 5124"/>
                <a:gd name="T8" fmla="*/ 4027 w 4302"/>
                <a:gd name="T9" fmla="*/ 2686 h 5124"/>
                <a:gd name="T10" fmla="*/ 3862 w 4302"/>
                <a:gd name="T11" fmla="*/ 2362 h 5124"/>
                <a:gd name="T12" fmla="*/ 4059 w 4302"/>
                <a:gd name="T13" fmla="*/ 2171 h 5124"/>
                <a:gd name="T14" fmla="*/ 4167 w 4302"/>
                <a:gd name="T15" fmla="*/ 1719 h 5124"/>
                <a:gd name="T16" fmla="*/ 3900 w 4302"/>
                <a:gd name="T17" fmla="*/ 1502 h 5124"/>
                <a:gd name="T18" fmla="*/ 3894 w 4302"/>
                <a:gd name="T19" fmla="*/ 1509 h 5124"/>
                <a:gd name="T20" fmla="*/ 3556 w 4302"/>
                <a:gd name="T21" fmla="*/ 1591 h 5124"/>
                <a:gd name="T22" fmla="*/ 3359 w 4302"/>
                <a:gd name="T23" fmla="*/ 1471 h 5124"/>
                <a:gd name="T24" fmla="*/ 2660 w 4302"/>
                <a:gd name="T25" fmla="*/ 1305 h 5124"/>
                <a:gd name="T26" fmla="*/ 2431 w 4302"/>
                <a:gd name="T27" fmla="*/ 923 h 5124"/>
                <a:gd name="T28" fmla="*/ 2176 w 4302"/>
                <a:gd name="T29" fmla="*/ 331 h 5124"/>
                <a:gd name="T30" fmla="*/ 1998 w 4302"/>
                <a:gd name="T31" fmla="*/ 7 h 5124"/>
                <a:gd name="T32" fmla="*/ 1998 w 4302"/>
                <a:gd name="T33" fmla="*/ 7 h 5124"/>
                <a:gd name="T34" fmla="*/ 1648 w 4302"/>
                <a:gd name="T35" fmla="*/ 300 h 5124"/>
                <a:gd name="T36" fmla="*/ 1107 w 4302"/>
                <a:gd name="T37" fmla="*/ 401 h 5124"/>
                <a:gd name="T38" fmla="*/ 1088 w 4302"/>
                <a:gd name="T39" fmla="*/ 389 h 5124"/>
                <a:gd name="T40" fmla="*/ 1292 w 4302"/>
                <a:gd name="T41" fmla="*/ 961 h 5124"/>
                <a:gd name="T42" fmla="*/ 1031 w 4302"/>
                <a:gd name="T43" fmla="*/ 1420 h 5124"/>
                <a:gd name="T44" fmla="*/ 1228 w 4302"/>
                <a:gd name="T45" fmla="*/ 1598 h 5124"/>
                <a:gd name="T46" fmla="*/ 1062 w 4302"/>
                <a:gd name="T47" fmla="*/ 1922 h 5124"/>
                <a:gd name="T48" fmla="*/ 852 w 4302"/>
                <a:gd name="T49" fmla="*/ 2241 h 5124"/>
                <a:gd name="T50" fmla="*/ 324 w 4302"/>
                <a:gd name="T51" fmla="*/ 2673 h 5124"/>
                <a:gd name="T52" fmla="*/ 0 w 4302"/>
                <a:gd name="T53" fmla="*/ 3532 h 5124"/>
                <a:gd name="T54" fmla="*/ 439 w 4302"/>
                <a:gd name="T55" fmla="*/ 3946 h 5124"/>
                <a:gd name="T56" fmla="*/ 827 w 4302"/>
                <a:gd name="T57" fmla="*/ 3883 h 5124"/>
                <a:gd name="T58" fmla="*/ 1292 w 4302"/>
                <a:gd name="T59" fmla="*/ 4691 h 5124"/>
                <a:gd name="T60" fmla="*/ 1635 w 4302"/>
                <a:gd name="T61" fmla="*/ 5041 h 5124"/>
                <a:gd name="T62" fmla="*/ 1928 w 4302"/>
                <a:gd name="T63" fmla="*/ 5123 h 5124"/>
                <a:gd name="T64" fmla="*/ 2189 w 4302"/>
                <a:gd name="T65" fmla="*/ 5060 h 5124"/>
                <a:gd name="T66" fmla="*/ 2991 w 4302"/>
                <a:gd name="T67" fmla="*/ 5022 h 5124"/>
                <a:gd name="T68" fmla="*/ 3054 w 4302"/>
                <a:gd name="T69" fmla="*/ 5060 h 5124"/>
                <a:gd name="T70" fmla="*/ 3525 w 4302"/>
                <a:gd name="T71" fmla="*/ 4608 h 5124"/>
                <a:gd name="T72" fmla="*/ 4167 w 4302"/>
                <a:gd name="T73" fmla="*/ 4341 h 5124"/>
                <a:gd name="T74" fmla="*/ 4167 w 4302"/>
                <a:gd name="T75" fmla="*/ 4341 h 5124"/>
                <a:gd name="T76" fmla="*/ 4250 w 4302"/>
                <a:gd name="T77" fmla="*/ 3965 h 5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302" h="5124">
                  <a:moveTo>
                    <a:pt x="4250" y="3965"/>
                  </a:moveTo>
                  <a:lnTo>
                    <a:pt x="4250" y="3965"/>
                  </a:lnTo>
                  <a:cubicBezTo>
                    <a:pt x="4180" y="3965"/>
                    <a:pt x="4116" y="3615"/>
                    <a:pt x="4116" y="3488"/>
                  </a:cubicBezTo>
                  <a:cubicBezTo>
                    <a:pt x="4116" y="3361"/>
                    <a:pt x="3983" y="3170"/>
                    <a:pt x="3983" y="3087"/>
                  </a:cubicBezTo>
                  <a:cubicBezTo>
                    <a:pt x="3983" y="3004"/>
                    <a:pt x="3983" y="2845"/>
                    <a:pt x="4027" y="2686"/>
                  </a:cubicBezTo>
                  <a:cubicBezTo>
                    <a:pt x="4072" y="2527"/>
                    <a:pt x="3862" y="2508"/>
                    <a:pt x="3862" y="2362"/>
                  </a:cubicBezTo>
                  <a:cubicBezTo>
                    <a:pt x="3862" y="2222"/>
                    <a:pt x="4091" y="2362"/>
                    <a:pt x="4059" y="2171"/>
                  </a:cubicBezTo>
                  <a:cubicBezTo>
                    <a:pt x="4040" y="2101"/>
                    <a:pt x="4193" y="1878"/>
                    <a:pt x="4167" y="1719"/>
                  </a:cubicBezTo>
                  <a:cubicBezTo>
                    <a:pt x="4148" y="1623"/>
                    <a:pt x="4008" y="1547"/>
                    <a:pt x="3900" y="1502"/>
                  </a:cubicBezTo>
                  <a:cubicBezTo>
                    <a:pt x="3894" y="1509"/>
                    <a:pt x="3894" y="1509"/>
                    <a:pt x="3894" y="1509"/>
                  </a:cubicBezTo>
                  <a:cubicBezTo>
                    <a:pt x="3894" y="1509"/>
                    <a:pt x="3811" y="1591"/>
                    <a:pt x="3556" y="1591"/>
                  </a:cubicBezTo>
                  <a:cubicBezTo>
                    <a:pt x="3308" y="1591"/>
                    <a:pt x="3359" y="1471"/>
                    <a:pt x="3359" y="1471"/>
                  </a:cubicBezTo>
                  <a:cubicBezTo>
                    <a:pt x="3067" y="1012"/>
                    <a:pt x="2730" y="1375"/>
                    <a:pt x="2660" y="1305"/>
                  </a:cubicBezTo>
                  <a:cubicBezTo>
                    <a:pt x="2596" y="1242"/>
                    <a:pt x="2552" y="1095"/>
                    <a:pt x="2431" y="923"/>
                  </a:cubicBezTo>
                  <a:cubicBezTo>
                    <a:pt x="2310" y="751"/>
                    <a:pt x="2176" y="471"/>
                    <a:pt x="2176" y="331"/>
                  </a:cubicBezTo>
                  <a:cubicBezTo>
                    <a:pt x="2176" y="191"/>
                    <a:pt x="1998" y="7"/>
                    <a:pt x="1998" y="7"/>
                  </a:cubicBezTo>
                  <a:lnTo>
                    <a:pt x="1998" y="7"/>
                  </a:lnTo>
                  <a:cubicBezTo>
                    <a:pt x="1953" y="0"/>
                    <a:pt x="1750" y="325"/>
                    <a:pt x="1648" y="300"/>
                  </a:cubicBezTo>
                  <a:cubicBezTo>
                    <a:pt x="1546" y="274"/>
                    <a:pt x="1164" y="401"/>
                    <a:pt x="1107" y="401"/>
                  </a:cubicBezTo>
                  <a:cubicBezTo>
                    <a:pt x="1101" y="401"/>
                    <a:pt x="1094" y="401"/>
                    <a:pt x="1088" y="389"/>
                  </a:cubicBezTo>
                  <a:cubicBezTo>
                    <a:pt x="1196" y="586"/>
                    <a:pt x="1457" y="853"/>
                    <a:pt x="1292" y="961"/>
                  </a:cubicBezTo>
                  <a:cubicBezTo>
                    <a:pt x="1075" y="1108"/>
                    <a:pt x="1031" y="1420"/>
                    <a:pt x="1031" y="1420"/>
                  </a:cubicBezTo>
                  <a:cubicBezTo>
                    <a:pt x="1228" y="1598"/>
                    <a:pt x="1228" y="1598"/>
                    <a:pt x="1228" y="1598"/>
                  </a:cubicBezTo>
                  <a:cubicBezTo>
                    <a:pt x="1228" y="1598"/>
                    <a:pt x="1062" y="1757"/>
                    <a:pt x="1062" y="1922"/>
                  </a:cubicBezTo>
                  <a:cubicBezTo>
                    <a:pt x="1062" y="2088"/>
                    <a:pt x="852" y="2241"/>
                    <a:pt x="852" y="2241"/>
                  </a:cubicBezTo>
                  <a:cubicBezTo>
                    <a:pt x="732" y="2648"/>
                    <a:pt x="477" y="2521"/>
                    <a:pt x="324" y="2673"/>
                  </a:cubicBezTo>
                  <a:cubicBezTo>
                    <a:pt x="178" y="2820"/>
                    <a:pt x="191" y="3322"/>
                    <a:pt x="0" y="3532"/>
                  </a:cubicBezTo>
                  <a:cubicBezTo>
                    <a:pt x="197" y="3603"/>
                    <a:pt x="299" y="3857"/>
                    <a:pt x="439" y="3946"/>
                  </a:cubicBezTo>
                  <a:cubicBezTo>
                    <a:pt x="604" y="4048"/>
                    <a:pt x="655" y="3883"/>
                    <a:pt x="827" y="3883"/>
                  </a:cubicBezTo>
                  <a:cubicBezTo>
                    <a:pt x="999" y="3883"/>
                    <a:pt x="1292" y="4691"/>
                    <a:pt x="1292" y="4691"/>
                  </a:cubicBezTo>
                  <a:cubicBezTo>
                    <a:pt x="1591" y="4742"/>
                    <a:pt x="1635" y="5041"/>
                    <a:pt x="1635" y="5041"/>
                  </a:cubicBezTo>
                  <a:cubicBezTo>
                    <a:pt x="1635" y="5041"/>
                    <a:pt x="1832" y="5123"/>
                    <a:pt x="1928" y="5123"/>
                  </a:cubicBezTo>
                  <a:cubicBezTo>
                    <a:pt x="2024" y="5123"/>
                    <a:pt x="1992" y="5097"/>
                    <a:pt x="2189" y="5060"/>
                  </a:cubicBezTo>
                  <a:cubicBezTo>
                    <a:pt x="2386" y="5022"/>
                    <a:pt x="2832" y="4945"/>
                    <a:pt x="2991" y="5022"/>
                  </a:cubicBezTo>
                  <a:cubicBezTo>
                    <a:pt x="3016" y="5028"/>
                    <a:pt x="3036" y="5041"/>
                    <a:pt x="3054" y="5060"/>
                  </a:cubicBezTo>
                  <a:cubicBezTo>
                    <a:pt x="3182" y="4754"/>
                    <a:pt x="3658" y="4850"/>
                    <a:pt x="3525" y="4608"/>
                  </a:cubicBezTo>
                  <a:cubicBezTo>
                    <a:pt x="3384" y="4341"/>
                    <a:pt x="4053" y="4226"/>
                    <a:pt x="4167" y="4341"/>
                  </a:cubicBezTo>
                  <a:lnTo>
                    <a:pt x="4167" y="4341"/>
                  </a:lnTo>
                  <a:cubicBezTo>
                    <a:pt x="4148" y="4169"/>
                    <a:pt x="4301" y="3965"/>
                    <a:pt x="4250" y="396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9" name="Freeform 503"/>
            <p:cNvSpPr>
              <a:spLocks noChangeArrowheads="1"/>
            </p:cNvSpPr>
            <p:nvPr/>
          </p:nvSpPr>
          <p:spPr bwMode="auto">
            <a:xfrm>
              <a:off x="16060119" y="5677848"/>
              <a:ext cx="1958772" cy="2316709"/>
            </a:xfrm>
            <a:custGeom>
              <a:avLst/>
              <a:gdLst>
                <a:gd name="T0" fmla="*/ 3227 w 3813"/>
                <a:gd name="T1" fmla="*/ 1413 h 4512"/>
                <a:gd name="T2" fmla="*/ 3227 w 3813"/>
                <a:gd name="T3" fmla="*/ 1413 h 4512"/>
                <a:gd name="T4" fmla="*/ 2985 w 3813"/>
                <a:gd name="T5" fmla="*/ 1356 h 4512"/>
                <a:gd name="T6" fmla="*/ 2883 w 3813"/>
                <a:gd name="T7" fmla="*/ 1254 h 4512"/>
                <a:gd name="T8" fmla="*/ 2495 w 3813"/>
                <a:gd name="T9" fmla="*/ 738 h 4512"/>
                <a:gd name="T10" fmla="*/ 2202 w 3813"/>
                <a:gd name="T11" fmla="*/ 878 h 4512"/>
                <a:gd name="T12" fmla="*/ 1915 w 3813"/>
                <a:gd name="T13" fmla="*/ 967 h 4512"/>
                <a:gd name="T14" fmla="*/ 1489 w 3813"/>
                <a:gd name="T15" fmla="*/ 929 h 4512"/>
                <a:gd name="T16" fmla="*/ 1031 w 3813"/>
                <a:gd name="T17" fmla="*/ 382 h 4512"/>
                <a:gd name="T18" fmla="*/ 636 w 3813"/>
                <a:gd name="T19" fmla="*/ 38 h 4512"/>
                <a:gd name="T20" fmla="*/ 229 w 3813"/>
                <a:gd name="T21" fmla="*/ 286 h 4512"/>
                <a:gd name="T22" fmla="*/ 38 w 3813"/>
                <a:gd name="T23" fmla="*/ 477 h 4512"/>
                <a:gd name="T24" fmla="*/ 305 w 3813"/>
                <a:gd name="T25" fmla="*/ 694 h 4512"/>
                <a:gd name="T26" fmla="*/ 197 w 3813"/>
                <a:gd name="T27" fmla="*/ 1146 h 4512"/>
                <a:gd name="T28" fmla="*/ 0 w 3813"/>
                <a:gd name="T29" fmla="*/ 1337 h 4512"/>
                <a:gd name="T30" fmla="*/ 165 w 3813"/>
                <a:gd name="T31" fmla="*/ 1661 h 4512"/>
                <a:gd name="T32" fmla="*/ 121 w 3813"/>
                <a:gd name="T33" fmla="*/ 2062 h 4512"/>
                <a:gd name="T34" fmla="*/ 254 w 3813"/>
                <a:gd name="T35" fmla="*/ 2463 h 4512"/>
                <a:gd name="T36" fmla="*/ 388 w 3813"/>
                <a:gd name="T37" fmla="*/ 2940 h 4512"/>
                <a:gd name="T38" fmla="*/ 305 w 3813"/>
                <a:gd name="T39" fmla="*/ 3316 h 4512"/>
                <a:gd name="T40" fmla="*/ 1005 w 3813"/>
                <a:gd name="T41" fmla="*/ 3380 h 4512"/>
                <a:gd name="T42" fmla="*/ 1540 w 3813"/>
                <a:gd name="T43" fmla="*/ 3831 h 4512"/>
                <a:gd name="T44" fmla="*/ 1591 w 3813"/>
                <a:gd name="T45" fmla="*/ 4231 h 4512"/>
                <a:gd name="T46" fmla="*/ 1336 w 3813"/>
                <a:gd name="T47" fmla="*/ 4390 h 4512"/>
                <a:gd name="T48" fmla="*/ 2183 w 3813"/>
                <a:gd name="T49" fmla="*/ 4403 h 4512"/>
                <a:gd name="T50" fmla="*/ 2596 w 3813"/>
                <a:gd name="T51" fmla="*/ 4250 h 4512"/>
                <a:gd name="T52" fmla="*/ 3086 w 3813"/>
                <a:gd name="T53" fmla="*/ 3882 h 4512"/>
                <a:gd name="T54" fmla="*/ 3392 w 3813"/>
                <a:gd name="T55" fmla="*/ 3882 h 4512"/>
                <a:gd name="T56" fmla="*/ 3551 w 3813"/>
                <a:gd name="T57" fmla="*/ 3971 h 4512"/>
                <a:gd name="T58" fmla="*/ 3666 w 3813"/>
                <a:gd name="T59" fmla="*/ 3513 h 4512"/>
                <a:gd name="T60" fmla="*/ 3666 w 3813"/>
                <a:gd name="T61" fmla="*/ 3068 h 4512"/>
                <a:gd name="T62" fmla="*/ 3341 w 3813"/>
                <a:gd name="T63" fmla="*/ 2788 h 4512"/>
                <a:gd name="T64" fmla="*/ 3570 w 3813"/>
                <a:gd name="T65" fmla="*/ 2425 h 4512"/>
                <a:gd name="T66" fmla="*/ 3679 w 3813"/>
                <a:gd name="T67" fmla="*/ 2132 h 4512"/>
                <a:gd name="T68" fmla="*/ 3602 w 3813"/>
                <a:gd name="T69" fmla="*/ 1718 h 4512"/>
                <a:gd name="T70" fmla="*/ 3570 w 3813"/>
                <a:gd name="T71" fmla="*/ 1477 h 4512"/>
                <a:gd name="T72" fmla="*/ 3227 w 3813"/>
                <a:gd name="T73" fmla="*/ 1413 h 4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813" h="4512">
                  <a:moveTo>
                    <a:pt x="3227" y="1413"/>
                  </a:moveTo>
                  <a:lnTo>
                    <a:pt x="3227" y="1413"/>
                  </a:lnTo>
                  <a:cubicBezTo>
                    <a:pt x="3099" y="1375"/>
                    <a:pt x="3099" y="1311"/>
                    <a:pt x="2985" y="1356"/>
                  </a:cubicBezTo>
                  <a:cubicBezTo>
                    <a:pt x="2870" y="1400"/>
                    <a:pt x="2883" y="1254"/>
                    <a:pt x="2883" y="1254"/>
                  </a:cubicBezTo>
                  <a:cubicBezTo>
                    <a:pt x="3004" y="1101"/>
                    <a:pt x="2762" y="738"/>
                    <a:pt x="2495" y="738"/>
                  </a:cubicBezTo>
                  <a:cubicBezTo>
                    <a:pt x="2227" y="738"/>
                    <a:pt x="2297" y="878"/>
                    <a:pt x="2202" y="878"/>
                  </a:cubicBezTo>
                  <a:cubicBezTo>
                    <a:pt x="2106" y="878"/>
                    <a:pt x="1954" y="929"/>
                    <a:pt x="1915" y="967"/>
                  </a:cubicBezTo>
                  <a:cubicBezTo>
                    <a:pt x="1877" y="1006"/>
                    <a:pt x="1489" y="929"/>
                    <a:pt x="1489" y="929"/>
                  </a:cubicBezTo>
                  <a:cubicBezTo>
                    <a:pt x="1165" y="127"/>
                    <a:pt x="1031" y="764"/>
                    <a:pt x="1031" y="382"/>
                  </a:cubicBezTo>
                  <a:cubicBezTo>
                    <a:pt x="1031" y="0"/>
                    <a:pt x="636" y="38"/>
                    <a:pt x="636" y="38"/>
                  </a:cubicBezTo>
                  <a:cubicBezTo>
                    <a:pt x="636" y="38"/>
                    <a:pt x="324" y="248"/>
                    <a:pt x="229" y="286"/>
                  </a:cubicBezTo>
                  <a:cubicBezTo>
                    <a:pt x="140" y="325"/>
                    <a:pt x="51" y="452"/>
                    <a:pt x="38" y="477"/>
                  </a:cubicBezTo>
                  <a:cubicBezTo>
                    <a:pt x="146" y="522"/>
                    <a:pt x="286" y="598"/>
                    <a:pt x="305" y="694"/>
                  </a:cubicBezTo>
                  <a:cubicBezTo>
                    <a:pt x="331" y="853"/>
                    <a:pt x="178" y="1076"/>
                    <a:pt x="197" y="1146"/>
                  </a:cubicBezTo>
                  <a:cubicBezTo>
                    <a:pt x="229" y="1337"/>
                    <a:pt x="0" y="1197"/>
                    <a:pt x="0" y="1337"/>
                  </a:cubicBezTo>
                  <a:cubicBezTo>
                    <a:pt x="0" y="1483"/>
                    <a:pt x="210" y="1502"/>
                    <a:pt x="165" y="1661"/>
                  </a:cubicBezTo>
                  <a:cubicBezTo>
                    <a:pt x="121" y="1820"/>
                    <a:pt x="121" y="1979"/>
                    <a:pt x="121" y="2062"/>
                  </a:cubicBezTo>
                  <a:cubicBezTo>
                    <a:pt x="121" y="2145"/>
                    <a:pt x="254" y="2336"/>
                    <a:pt x="254" y="2463"/>
                  </a:cubicBezTo>
                  <a:cubicBezTo>
                    <a:pt x="254" y="2590"/>
                    <a:pt x="318" y="2940"/>
                    <a:pt x="388" y="2940"/>
                  </a:cubicBezTo>
                  <a:cubicBezTo>
                    <a:pt x="439" y="2940"/>
                    <a:pt x="286" y="3144"/>
                    <a:pt x="305" y="3316"/>
                  </a:cubicBezTo>
                  <a:cubicBezTo>
                    <a:pt x="426" y="3424"/>
                    <a:pt x="757" y="3380"/>
                    <a:pt x="1005" y="3380"/>
                  </a:cubicBezTo>
                  <a:cubicBezTo>
                    <a:pt x="1254" y="3380"/>
                    <a:pt x="1311" y="3831"/>
                    <a:pt x="1540" y="3831"/>
                  </a:cubicBezTo>
                  <a:cubicBezTo>
                    <a:pt x="1769" y="3831"/>
                    <a:pt x="1648" y="4168"/>
                    <a:pt x="1591" y="4231"/>
                  </a:cubicBezTo>
                  <a:cubicBezTo>
                    <a:pt x="1540" y="4282"/>
                    <a:pt x="1349" y="4327"/>
                    <a:pt x="1336" y="4390"/>
                  </a:cubicBezTo>
                  <a:cubicBezTo>
                    <a:pt x="1559" y="4511"/>
                    <a:pt x="2094" y="4492"/>
                    <a:pt x="2183" y="4403"/>
                  </a:cubicBezTo>
                  <a:cubicBezTo>
                    <a:pt x="2278" y="4301"/>
                    <a:pt x="2457" y="4250"/>
                    <a:pt x="2596" y="4250"/>
                  </a:cubicBezTo>
                  <a:cubicBezTo>
                    <a:pt x="2737" y="4250"/>
                    <a:pt x="2972" y="3933"/>
                    <a:pt x="3086" y="3882"/>
                  </a:cubicBezTo>
                  <a:cubicBezTo>
                    <a:pt x="3201" y="3831"/>
                    <a:pt x="3265" y="3882"/>
                    <a:pt x="3392" y="3882"/>
                  </a:cubicBezTo>
                  <a:cubicBezTo>
                    <a:pt x="3443" y="3882"/>
                    <a:pt x="3500" y="3920"/>
                    <a:pt x="3551" y="3971"/>
                  </a:cubicBezTo>
                  <a:cubicBezTo>
                    <a:pt x="3602" y="3819"/>
                    <a:pt x="3666" y="3589"/>
                    <a:pt x="3666" y="3513"/>
                  </a:cubicBezTo>
                  <a:cubicBezTo>
                    <a:pt x="3666" y="3386"/>
                    <a:pt x="3513" y="3214"/>
                    <a:pt x="3666" y="3068"/>
                  </a:cubicBezTo>
                  <a:cubicBezTo>
                    <a:pt x="3812" y="2915"/>
                    <a:pt x="3341" y="2966"/>
                    <a:pt x="3341" y="2788"/>
                  </a:cubicBezTo>
                  <a:cubicBezTo>
                    <a:pt x="3341" y="2698"/>
                    <a:pt x="3475" y="2559"/>
                    <a:pt x="3570" y="2425"/>
                  </a:cubicBezTo>
                  <a:cubicBezTo>
                    <a:pt x="3666" y="2291"/>
                    <a:pt x="3717" y="2170"/>
                    <a:pt x="3679" y="2132"/>
                  </a:cubicBezTo>
                  <a:cubicBezTo>
                    <a:pt x="3679" y="2132"/>
                    <a:pt x="3551" y="1839"/>
                    <a:pt x="3602" y="1718"/>
                  </a:cubicBezTo>
                  <a:cubicBezTo>
                    <a:pt x="3634" y="1636"/>
                    <a:pt x="3596" y="1547"/>
                    <a:pt x="3570" y="1477"/>
                  </a:cubicBezTo>
                  <a:cubicBezTo>
                    <a:pt x="3386" y="1540"/>
                    <a:pt x="3341" y="1451"/>
                    <a:pt x="3227" y="141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0" name="Freeform 504"/>
            <p:cNvSpPr>
              <a:spLocks noChangeArrowheads="1"/>
            </p:cNvSpPr>
            <p:nvPr/>
          </p:nvSpPr>
          <p:spPr bwMode="auto">
            <a:xfrm>
              <a:off x="17455035" y="4407395"/>
              <a:ext cx="1841018" cy="1813961"/>
            </a:xfrm>
            <a:custGeom>
              <a:avLst/>
              <a:gdLst>
                <a:gd name="T0" fmla="*/ 3577 w 3585"/>
                <a:gd name="T1" fmla="*/ 955 h 3534"/>
                <a:gd name="T2" fmla="*/ 3577 w 3585"/>
                <a:gd name="T3" fmla="*/ 955 h 3534"/>
                <a:gd name="T4" fmla="*/ 3265 w 3585"/>
                <a:gd name="T5" fmla="*/ 783 h 3534"/>
                <a:gd name="T6" fmla="*/ 2979 w 3585"/>
                <a:gd name="T7" fmla="*/ 885 h 3534"/>
                <a:gd name="T8" fmla="*/ 2712 w 3585"/>
                <a:gd name="T9" fmla="*/ 764 h 3534"/>
                <a:gd name="T10" fmla="*/ 2317 w 3585"/>
                <a:gd name="T11" fmla="*/ 586 h 3534"/>
                <a:gd name="T12" fmla="*/ 1706 w 3585"/>
                <a:gd name="T13" fmla="*/ 255 h 3534"/>
                <a:gd name="T14" fmla="*/ 1490 w 3585"/>
                <a:gd name="T15" fmla="*/ 300 h 3534"/>
                <a:gd name="T16" fmla="*/ 936 w 3585"/>
                <a:gd name="T17" fmla="*/ 166 h 3534"/>
                <a:gd name="T18" fmla="*/ 809 w 3585"/>
                <a:gd name="T19" fmla="*/ 166 h 3534"/>
                <a:gd name="T20" fmla="*/ 618 w 3585"/>
                <a:gd name="T21" fmla="*/ 7 h 3534"/>
                <a:gd name="T22" fmla="*/ 618 w 3585"/>
                <a:gd name="T23" fmla="*/ 7 h 3534"/>
                <a:gd name="T24" fmla="*/ 446 w 3585"/>
                <a:gd name="T25" fmla="*/ 96 h 3534"/>
                <a:gd name="T26" fmla="*/ 217 w 3585"/>
                <a:gd name="T27" fmla="*/ 140 h 3534"/>
                <a:gd name="T28" fmla="*/ 51 w 3585"/>
                <a:gd name="T29" fmla="*/ 681 h 3534"/>
                <a:gd name="T30" fmla="*/ 89 w 3585"/>
                <a:gd name="T31" fmla="*/ 802 h 3534"/>
                <a:gd name="T32" fmla="*/ 191 w 3585"/>
                <a:gd name="T33" fmla="*/ 1235 h 3534"/>
                <a:gd name="T34" fmla="*/ 153 w 3585"/>
                <a:gd name="T35" fmla="*/ 1636 h 3534"/>
                <a:gd name="T36" fmla="*/ 153 w 3585"/>
                <a:gd name="T37" fmla="*/ 1763 h 3534"/>
                <a:gd name="T38" fmla="*/ 351 w 3585"/>
                <a:gd name="T39" fmla="*/ 2031 h 3534"/>
                <a:gd name="T40" fmla="*/ 815 w 3585"/>
                <a:gd name="T41" fmla="*/ 2323 h 3534"/>
                <a:gd name="T42" fmla="*/ 815 w 3585"/>
                <a:gd name="T43" fmla="*/ 2482 h 3534"/>
                <a:gd name="T44" fmla="*/ 1051 w 3585"/>
                <a:gd name="T45" fmla="*/ 2622 h 3534"/>
                <a:gd name="T46" fmla="*/ 1197 w 3585"/>
                <a:gd name="T47" fmla="*/ 2928 h 3534"/>
                <a:gd name="T48" fmla="*/ 1502 w 3585"/>
                <a:gd name="T49" fmla="*/ 3380 h 3534"/>
                <a:gd name="T50" fmla="*/ 1738 w 3585"/>
                <a:gd name="T51" fmla="*/ 3144 h 3534"/>
                <a:gd name="T52" fmla="*/ 1922 w 3585"/>
                <a:gd name="T53" fmla="*/ 3335 h 3534"/>
                <a:gd name="T54" fmla="*/ 2215 w 3585"/>
                <a:gd name="T55" fmla="*/ 3335 h 3534"/>
                <a:gd name="T56" fmla="*/ 2737 w 3585"/>
                <a:gd name="T57" fmla="*/ 3533 h 3534"/>
                <a:gd name="T58" fmla="*/ 3144 w 3585"/>
                <a:gd name="T59" fmla="*/ 2444 h 3534"/>
                <a:gd name="T60" fmla="*/ 3043 w 3585"/>
                <a:gd name="T61" fmla="*/ 1980 h 3534"/>
                <a:gd name="T62" fmla="*/ 3227 w 3585"/>
                <a:gd name="T63" fmla="*/ 1693 h 3534"/>
                <a:gd name="T64" fmla="*/ 2979 w 3585"/>
                <a:gd name="T65" fmla="*/ 1451 h 3534"/>
                <a:gd name="T66" fmla="*/ 2864 w 3585"/>
                <a:gd name="T67" fmla="*/ 1140 h 3534"/>
                <a:gd name="T68" fmla="*/ 3444 w 3585"/>
                <a:gd name="T69" fmla="*/ 1089 h 3534"/>
                <a:gd name="T70" fmla="*/ 3584 w 3585"/>
                <a:gd name="T71" fmla="*/ 961 h 3534"/>
                <a:gd name="T72" fmla="*/ 3577 w 3585"/>
                <a:gd name="T73" fmla="*/ 955 h 3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85" h="3534">
                  <a:moveTo>
                    <a:pt x="3577" y="955"/>
                  </a:moveTo>
                  <a:lnTo>
                    <a:pt x="3577" y="955"/>
                  </a:lnTo>
                  <a:cubicBezTo>
                    <a:pt x="3380" y="764"/>
                    <a:pt x="3265" y="783"/>
                    <a:pt x="3265" y="783"/>
                  </a:cubicBezTo>
                  <a:cubicBezTo>
                    <a:pt x="3176" y="802"/>
                    <a:pt x="3062" y="917"/>
                    <a:pt x="2979" y="885"/>
                  </a:cubicBezTo>
                  <a:cubicBezTo>
                    <a:pt x="2903" y="860"/>
                    <a:pt x="2864" y="688"/>
                    <a:pt x="2712" y="764"/>
                  </a:cubicBezTo>
                  <a:cubicBezTo>
                    <a:pt x="2413" y="923"/>
                    <a:pt x="2317" y="586"/>
                    <a:pt x="2317" y="586"/>
                  </a:cubicBezTo>
                  <a:cubicBezTo>
                    <a:pt x="2184" y="185"/>
                    <a:pt x="1795" y="159"/>
                    <a:pt x="1706" y="255"/>
                  </a:cubicBezTo>
                  <a:cubicBezTo>
                    <a:pt x="1611" y="344"/>
                    <a:pt x="1490" y="300"/>
                    <a:pt x="1490" y="300"/>
                  </a:cubicBezTo>
                  <a:cubicBezTo>
                    <a:pt x="1318" y="134"/>
                    <a:pt x="1076" y="108"/>
                    <a:pt x="936" y="166"/>
                  </a:cubicBezTo>
                  <a:cubicBezTo>
                    <a:pt x="802" y="223"/>
                    <a:pt x="809" y="166"/>
                    <a:pt x="809" y="166"/>
                  </a:cubicBezTo>
                  <a:cubicBezTo>
                    <a:pt x="751" y="0"/>
                    <a:pt x="618" y="51"/>
                    <a:pt x="618" y="7"/>
                  </a:cubicBezTo>
                  <a:lnTo>
                    <a:pt x="618" y="7"/>
                  </a:lnTo>
                  <a:cubicBezTo>
                    <a:pt x="561" y="51"/>
                    <a:pt x="490" y="96"/>
                    <a:pt x="446" y="96"/>
                  </a:cubicBezTo>
                  <a:cubicBezTo>
                    <a:pt x="357" y="96"/>
                    <a:pt x="261" y="0"/>
                    <a:pt x="217" y="140"/>
                  </a:cubicBezTo>
                  <a:cubicBezTo>
                    <a:pt x="166" y="287"/>
                    <a:pt x="198" y="535"/>
                    <a:pt x="51" y="681"/>
                  </a:cubicBezTo>
                  <a:cubicBezTo>
                    <a:pt x="51" y="681"/>
                    <a:pt x="89" y="719"/>
                    <a:pt x="89" y="802"/>
                  </a:cubicBezTo>
                  <a:cubicBezTo>
                    <a:pt x="89" y="885"/>
                    <a:pt x="77" y="1120"/>
                    <a:pt x="191" y="1235"/>
                  </a:cubicBezTo>
                  <a:cubicBezTo>
                    <a:pt x="306" y="1350"/>
                    <a:pt x="0" y="1375"/>
                    <a:pt x="153" y="1636"/>
                  </a:cubicBezTo>
                  <a:cubicBezTo>
                    <a:pt x="153" y="1636"/>
                    <a:pt x="223" y="1693"/>
                    <a:pt x="153" y="1763"/>
                  </a:cubicBezTo>
                  <a:cubicBezTo>
                    <a:pt x="77" y="1840"/>
                    <a:pt x="230" y="1986"/>
                    <a:pt x="351" y="2031"/>
                  </a:cubicBezTo>
                  <a:cubicBezTo>
                    <a:pt x="471" y="2075"/>
                    <a:pt x="815" y="2323"/>
                    <a:pt x="815" y="2323"/>
                  </a:cubicBezTo>
                  <a:cubicBezTo>
                    <a:pt x="815" y="2323"/>
                    <a:pt x="713" y="2482"/>
                    <a:pt x="815" y="2482"/>
                  </a:cubicBezTo>
                  <a:cubicBezTo>
                    <a:pt x="917" y="2482"/>
                    <a:pt x="1006" y="2514"/>
                    <a:pt x="1051" y="2622"/>
                  </a:cubicBezTo>
                  <a:cubicBezTo>
                    <a:pt x="1101" y="2724"/>
                    <a:pt x="1254" y="2813"/>
                    <a:pt x="1197" y="2928"/>
                  </a:cubicBezTo>
                  <a:cubicBezTo>
                    <a:pt x="1146" y="3023"/>
                    <a:pt x="1337" y="3265"/>
                    <a:pt x="1502" y="3380"/>
                  </a:cubicBezTo>
                  <a:cubicBezTo>
                    <a:pt x="1566" y="3297"/>
                    <a:pt x="1693" y="3106"/>
                    <a:pt x="1738" y="3144"/>
                  </a:cubicBezTo>
                  <a:cubicBezTo>
                    <a:pt x="1782" y="3195"/>
                    <a:pt x="1808" y="3361"/>
                    <a:pt x="1922" y="3335"/>
                  </a:cubicBezTo>
                  <a:cubicBezTo>
                    <a:pt x="2043" y="3303"/>
                    <a:pt x="2094" y="3335"/>
                    <a:pt x="2215" y="3335"/>
                  </a:cubicBezTo>
                  <a:cubicBezTo>
                    <a:pt x="2330" y="3335"/>
                    <a:pt x="2623" y="3431"/>
                    <a:pt x="2737" y="3533"/>
                  </a:cubicBezTo>
                  <a:cubicBezTo>
                    <a:pt x="2922" y="3227"/>
                    <a:pt x="3144" y="2444"/>
                    <a:pt x="3144" y="2444"/>
                  </a:cubicBezTo>
                  <a:cubicBezTo>
                    <a:pt x="2883" y="2362"/>
                    <a:pt x="2985" y="2107"/>
                    <a:pt x="3043" y="1980"/>
                  </a:cubicBezTo>
                  <a:cubicBezTo>
                    <a:pt x="3100" y="1852"/>
                    <a:pt x="3227" y="1865"/>
                    <a:pt x="3227" y="1693"/>
                  </a:cubicBezTo>
                  <a:cubicBezTo>
                    <a:pt x="3227" y="1521"/>
                    <a:pt x="2979" y="1534"/>
                    <a:pt x="2979" y="1451"/>
                  </a:cubicBezTo>
                  <a:cubicBezTo>
                    <a:pt x="2979" y="1369"/>
                    <a:pt x="2763" y="1241"/>
                    <a:pt x="2864" y="1140"/>
                  </a:cubicBezTo>
                  <a:cubicBezTo>
                    <a:pt x="2960" y="1044"/>
                    <a:pt x="3297" y="1089"/>
                    <a:pt x="3444" y="1089"/>
                  </a:cubicBezTo>
                  <a:cubicBezTo>
                    <a:pt x="3520" y="1089"/>
                    <a:pt x="3558" y="1025"/>
                    <a:pt x="3584" y="961"/>
                  </a:cubicBezTo>
                  <a:cubicBezTo>
                    <a:pt x="3577" y="961"/>
                    <a:pt x="3577" y="961"/>
                    <a:pt x="3577" y="95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1" name="Freeform 505"/>
            <p:cNvSpPr>
              <a:spLocks noChangeArrowheads="1"/>
            </p:cNvSpPr>
            <p:nvPr/>
          </p:nvSpPr>
          <p:spPr bwMode="auto">
            <a:xfrm>
              <a:off x="16334121" y="3882002"/>
              <a:ext cx="1893101" cy="2588462"/>
            </a:xfrm>
            <a:custGeom>
              <a:avLst/>
              <a:gdLst>
                <a:gd name="T0" fmla="*/ 3380 w 3686"/>
                <a:gd name="T1" fmla="*/ 3952 h 5041"/>
                <a:gd name="T2" fmla="*/ 3380 w 3686"/>
                <a:gd name="T3" fmla="*/ 3952 h 5041"/>
                <a:gd name="T4" fmla="*/ 3234 w 3686"/>
                <a:gd name="T5" fmla="*/ 3646 h 5041"/>
                <a:gd name="T6" fmla="*/ 2998 w 3686"/>
                <a:gd name="T7" fmla="*/ 3506 h 5041"/>
                <a:gd name="T8" fmla="*/ 2998 w 3686"/>
                <a:gd name="T9" fmla="*/ 3347 h 5041"/>
                <a:gd name="T10" fmla="*/ 2534 w 3686"/>
                <a:gd name="T11" fmla="*/ 3055 h 5041"/>
                <a:gd name="T12" fmla="*/ 2336 w 3686"/>
                <a:gd name="T13" fmla="*/ 2787 h 5041"/>
                <a:gd name="T14" fmla="*/ 2336 w 3686"/>
                <a:gd name="T15" fmla="*/ 2660 h 5041"/>
                <a:gd name="T16" fmla="*/ 2374 w 3686"/>
                <a:gd name="T17" fmla="*/ 2259 h 5041"/>
                <a:gd name="T18" fmla="*/ 2272 w 3686"/>
                <a:gd name="T19" fmla="*/ 1826 h 5041"/>
                <a:gd name="T20" fmla="*/ 2234 w 3686"/>
                <a:gd name="T21" fmla="*/ 1705 h 5041"/>
                <a:gd name="T22" fmla="*/ 2400 w 3686"/>
                <a:gd name="T23" fmla="*/ 1164 h 5041"/>
                <a:gd name="T24" fmla="*/ 2629 w 3686"/>
                <a:gd name="T25" fmla="*/ 1120 h 5041"/>
                <a:gd name="T26" fmla="*/ 2801 w 3686"/>
                <a:gd name="T27" fmla="*/ 1031 h 5041"/>
                <a:gd name="T28" fmla="*/ 2203 w 3686"/>
                <a:gd name="T29" fmla="*/ 655 h 5041"/>
                <a:gd name="T30" fmla="*/ 2069 w 3686"/>
                <a:gd name="T31" fmla="*/ 63 h 5041"/>
                <a:gd name="T32" fmla="*/ 1878 w 3686"/>
                <a:gd name="T33" fmla="*/ 184 h 5041"/>
                <a:gd name="T34" fmla="*/ 1872 w 3686"/>
                <a:gd name="T35" fmla="*/ 337 h 5041"/>
                <a:gd name="T36" fmla="*/ 1280 w 3686"/>
                <a:gd name="T37" fmla="*/ 394 h 5041"/>
                <a:gd name="T38" fmla="*/ 981 w 3686"/>
                <a:gd name="T39" fmla="*/ 1062 h 5041"/>
                <a:gd name="T40" fmla="*/ 987 w 3686"/>
                <a:gd name="T41" fmla="*/ 1457 h 5041"/>
                <a:gd name="T42" fmla="*/ 541 w 3686"/>
                <a:gd name="T43" fmla="*/ 1622 h 5041"/>
                <a:gd name="T44" fmla="*/ 548 w 3686"/>
                <a:gd name="T45" fmla="*/ 1877 h 5041"/>
                <a:gd name="T46" fmla="*/ 242 w 3686"/>
                <a:gd name="T47" fmla="*/ 2615 h 5041"/>
                <a:gd name="T48" fmla="*/ 230 w 3686"/>
                <a:gd name="T49" fmla="*/ 2615 h 5041"/>
                <a:gd name="T50" fmla="*/ 401 w 3686"/>
                <a:gd name="T51" fmla="*/ 3067 h 5041"/>
                <a:gd name="T52" fmla="*/ 102 w 3686"/>
                <a:gd name="T53" fmla="*/ 3366 h 5041"/>
                <a:gd name="T54" fmla="*/ 102 w 3686"/>
                <a:gd name="T55" fmla="*/ 3538 h 5041"/>
                <a:gd name="T56" fmla="*/ 497 w 3686"/>
                <a:gd name="T57" fmla="*/ 3882 h 5041"/>
                <a:gd name="T58" fmla="*/ 955 w 3686"/>
                <a:gd name="T59" fmla="*/ 4429 h 5041"/>
                <a:gd name="T60" fmla="*/ 1381 w 3686"/>
                <a:gd name="T61" fmla="*/ 4467 h 5041"/>
                <a:gd name="T62" fmla="*/ 1668 w 3686"/>
                <a:gd name="T63" fmla="*/ 4378 h 5041"/>
                <a:gd name="T64" fmla="*/ 1961 w 3686"/>
                <a:gd name="T65" fmla="*/ 4238 h 5041"/>
                <a:gd name="T66" fmla="*/ 2349 w 3686"/>
                <a:gd name="T67" fmla="*/ 4754 h 5041"/>
                <a:gd name="T68" fmla="*/ 2451 w 3686"/>
                <a:gd name="T69" fmla="*/ 4856 h 5041"/>
                <a:gd name="T70" fmla="*/ 2693 w 3686"/>
                <a:gd name="T71" fmla="*/ 4913 h 5041"/>
                <a:gd name="T72" fmla="*/ 3036 w 3686"/>
                <a:gd name="T73" fmla="*/ 4977 h 5041"/>
                <a:gd name="T74" fmla="*/ 3043 w 3686"/>
                <a:gd name="T75" fmla="*/ 4888 h 5041"/>
                <a:gd name="T76" fmla="*/ 3405 w 3686"/>
                <a:gd name="T77" fmla="*/ 4875 h 5041"/>
                <a:gd name="T78" fmla="*/ 3456 w 3686"/>
                <a:gd name="T79" fmla="*/ 4569 h 5041"/>
                <a:gd name="T80" fmla="*/ 3666 w 3686"/>
                <a:gd name="T81" fmla="*/ 4423 h 5041"/>
                <a:gd name="T82" fmla="*/ 3685 w 3686"/>
                <a:gd name="T83" fmla="*/ 4404 h 5041"/>
                <a:gd name="T84" fmla="*/ 3380 w 3686"/>
                <a:gd name="T85" fmla="*/ 3952 h 50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86" h="5041">
                  <a:moveTo>
                    <a:pt x="3380" y="3952"/>
                  </a:moveTo>
                  <a:lnTo>
                    <a:pt x="3380" y="3952"/>
                  </a:lnTo>
                  <a:cubicBezTo>
                    <a:pt x="3437" y="3837"/>
                    <a:pt x="3284" y="3748"/>
                    <a:pt x="3234" y="3646"/>
                  </a:cubicBezTo>
                  <a:cubicBezTo>
                    <a:pt x="3189" y="3538"/>
                    <a:pt x="3100" y="3506"/>
                    <a:pt x="2998" y="3506"/>
                  </a:cubicBezTo>
                  <a:cubicBezTo>
                    <a:pt x="2896" y="3506"/>
                    <a:pt x="2998" y="3347"/>
                    <a:pt x="2998" y="3347"/>
                  </a:cubicBezTo>
                  <a:cubicBezTo>
                    <a:pt x="2998" y="3347"/>
                    <a:pt x="2654" y="3099"/>
                    <a:pt x="2534" y="3055"/>
                  </a:cubicBezTo>
                  <a:cubicBezTo>
                    <a:pt x="2413" y="3010"/>
                    <a:pt x="2260" y="2864"/>
                    <a:pt x="2336" y="2787"/>
                  </a:cubicBezTo>
                  <a:cubicBezTo>
                    <a:pt x="2406" y="2717"/>
                    <a:pt x="2336" y="2660"/>
                    <a:pt x="2336" y="2660"/>
                  </a:cubicBezTo>
                  <a:cubicBezTo>
                    <a:pt x="2183" y="2399"/>
                    <a:pt x="2489" y="2374"/>
                    <a:pt x="2374" y="2259"/>
                  </a:cubicBezTo>
                  <a:cubicBezTo>
                    <a:pt x="2260" y="2144"/>
                    <a:pt x="2272" y="1909"/>
                    <a:pt x="2272" y="1826"/>
                  </a:cubicBezTo>
                  <a:cubicBezTo>
                    <a:pt x="2272" y="1743"/>
                    <a:pt x="2234" y="1705"/>
                    <a:pt x="2234" y="1705"/>
                  </a:cubicBezTo>
                  <a:cubicBezTo>
                    <a:pt x="2381" y="1559"/>
                    <a:pt x="2349" y="1311"/>
                    <a:pt x="2400" y="1164"/>
                  </a:cubicBezTo>
                  <a:cubicBezTo>
                    <a:pt x="2444" y="1024"/>
                    <a:pt x="2540" y="1120"/>
                    <a:pt x="2629" y="1120"/>
                  </a:cubicBezTo>
                  <a:cubicBezTo>
                    <a:pt x="2673" y="1120"/>
                    <a:pt x="2744" y="1075"/>
                    <a:pt x="2801" y="1031"/>
                  </a:cubicBezTo>
                  <a:cubicBezTo>
                    <a:pt x="2782" y="980"/>
                    <a:pt x="2323" y="706"/>
                    <a:pt x="2203" y="655"/>
                  </a:cubicBezTo>
                  <a:cubicBezTo>
                    <a:pt x="2082" y="604"/>
                    <a:pt x="2133" y="127"/>
                    <a:pt x="2069" y="63"/>
                  </a:cubicBezTo>
                  <a:cubicBezTo>
                    <a:pt x="2012" y="0"/>
                    <a:pt x="1827" y="63"/>
                    <a:pt x="1878" y="184"/>
                  </a:cubicBezTo>
                  <a:cubicBezTo>
                    <a:pt x="1929" y="305"/>
                    <a:pt x="1872" y="337"/>
                    <a:pt x="1872" y="337"/>
                  </a:cubicBezTo>
                  <a:cubicBezTo>
                    <a:pt x="1522" y="407"/>
                    <a:pt x="1356" y="420"/>
                    <a:pt x="1280" y="394"/>
                  </a:cubicBezTo>
                  <a:cubicBezTo>
                    <a:pt x="1280" y="942"/>
                    <a:pt x="783" y="916"/>
                    <a:pt x="981" y="1062"/>
                  </a:cubicBezTo>
                  <a:cubicBezTo>
                    <a:pt x="1184" y="1215"/>
                    <a:pt x="1044" y="1457"/>
                    <a:pt x="987" y="1457"/>
                  </a:cubicBezTo>
                  <a:cubicBezTo>
                    <a:pt x="930" y="1457"/>
                    <a:pt x="605" y="1559"/>
                    <a:pt x="541" y="1622"/>
                  </a:cubicBezTo>
                  <a:cubicBezTo>
                    <a:pt x="471" y="1693"/>
                    <a:pt x="497" y="1832"/>
                    <a:pt x="548" y="1877"/>
                  </a:cubicBezTo>
                  <a:cubicBezTo>
                    <a:pt x="592" y="1928"/>
                    <a:pt x="414" y="2615"/>
                    <a:pt x="242" y="2615"/>
                  </a:cubicBezTo>
                  <a:cubicBezTo>
                    <a:pt x="236" y="2615"/>
                    <a:pt x="230" y="2615"/>
                    <a:pt x="230" y="2615"/>
                  </a:cubicBezTo>
                  <a:cubicBezTo>
                    <a:pt x="210" y="2876"/>
                    <a:pt x="351" y="3016"/>
                    <a:pt x="401" y="3067"/>
                  </a:cubicBezTo>
                  <a:cubicBezTo>
                    <a:pt x="465" y="3124"/>
                    <a:pt x="204" y="3265"/>
                    <a:pt x="102" y="3366"/>
                  </a:cubicBezTo>
                  <a:cubicBezTo>
                    <a:pt x="0" y="3468"/>
                    <a:pt x="102" y="3538"/>
                    <a:pt x="102" y="3538"/>
                  </a:cubicBezTo>
                  <a:cubicBezTo>
                    <a:pt x="102" y="3538"/>
                    <a:pt x="497" y="3500"/>
                    <a:pt x="497" y="3882"/>
                  </a:cubicBezTo>
                  <a:cubicBezTo>
                    <a:pt x="497" y="4264"/>
                    <a:pt x="631" y="3627"/>
                    <a:pt x="955" y="4429"/>
                  </a:cubicBezTo>
                  <a:cubicBezTo>
                    <a:pt x="955" y="4429"/>
                    <a:pt x="1343" y="4506"/>
                    <a:pt x="1381" y="4467"/>
                  </a:cubicBezTo>
                  <a:cubicBezTo>
                    <a:pt x="1420" y="4429"/>
                    <a:pt x="1572" y="4378"/>
                    <a:pt x="1668" y="4378"/>
                  </a:cubicBezTo>
                  <a:cubicBezTo>
                    <a:pt x="1763" y="4378"/>
                    <a:pt x="1693" y="4238"/>
                    <a:pt x="1961" y="4238"/>
                  </a:cubicBezTo>
                  <a:cubicBezTo>
                    <a:pt x="2228" y="4238"/>
                    <a:pt x="2470" y="4601"/>
                    <a:pt x="2349" y="4754"/>
                  </a:cubicBezTo>
                  <a:cubicBezTo>
                    <a:pt x="2349" y="4754"/>
                    <a:pt x="2336" y="4900"/>
                    <a:pt x="2451" y="4856"/>
                  </a:cubicBezTo>
                  <a:cubicBezTo>
                    <a:pt x="2565" y="4811"/>
                    <a:pt x="2565" y="4875"/>
                    <a:pt x="2693" y="4913"/>
                  </a:cubicBezTo>
                  <a:cubicBezTo>
                    <a:pt x="2807" y="4951"/>
                    <a:pt x="2852" y="5040"/>
                    <a:pt x="3036" y="4977"/>
                  </a:cubicBezTo>
                  <a:cubicBezTo>
                    <a:pt x="3030" y="4938"/>
                    <a:pt x="3024" y="4900"/>
                    <a:pt x="3043" y="4888"/>
                  </a:cubicBezTo>
                  <a:cubicBezTo>
                    <a:pt x="3094" y="4830"/>
                    <a:pt x="3355" y="4996"/>
                    <a:pt x="3405" y="4875"/>
                  </a:cubicBezTo>
                  <a:cubicBezTo>
                    <a:pt x="3456" y="4747"/>
                    <a:pt x="3393" y="4684"/>
                    <a:pt x="3456" y="4569"/>
                  </a:cubicBezTo>
                  <a:cubicBezTo>
                    <a:pt x="3520" y="4455"/>
                    <a:pt x="3609" y="4480"/>
                    <a:pt x="3666" y="4423"/>
                  </a:cubicBezTo>
                  <a:cubicBezTo>
                    <a:pt x="3673" y="4423"/>
                    <a:pt x="3679" y="4410"/>
                    <a:pt x="3685" y="4404"/>
                  </a:cubicBezTo>
                  <a:cubicBezTo>
                    <a:pt x="3520" y="4289"/>
                    <a:pt x="3329" y="4047"/>
                    <a:pt x="3380" y="395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2" name="Freeform 506"/>
            <p:cNvSpPr>
              <a:spLocks noChangeArrowheads="1"/>
            </p:cNvSpPr>
            <p:nvPr/>
          </p:nvSpPr>
          <p:spPr bwMode="auto">
            <a:xfrm>
              <a:off x="18861276" y="4815026"/>
              <a:ext cx="855971" cy="1755081"/>
            </a:xfrm>
            <a:custGeom>
              <a:avLst/>
              <a:gdLst>
                <a:gd name="T0" fmla="*/ 1648 w 1669"/>
                <a:gd name="T1" fmla="*/ 356 h 3418"/>
                <a:gd name="T2" fmla="*/ 1648 w 1669"/>
                <a:gd name="T3" fmla="*/ 356 h 3418"/>
                <a:gd name="T4" fmla="*/ 847 w 1669"/>
                <a:gd name="T5" fmla="*/ 165 h 3418"/>
                <a:gd name="T6" fmla="*/ 707 w 1669"/>
                <a:gd name="T7" fmla="*/ 293 h 3418"/>
                <a:gd name="T8" fmla="*/ 127 w 1669"/>
                <a:gd name="T9" fmla="*/ 344 h 3418"/>
                <a:gd name="T10" fmla="*/ 242 w 1669"/>
                <a:gd name="T11" fmla="*/ 655 h 3418"/>
                <a:gd name="T12" fmla="*/ 490 w 1669"/>
                <a:gd name="T13" fmla="*/ 897 h 3418"/>
                <a:gd name="T14" fmla="*/ 306 w 1669"/>
                <a:gd name="T15" fmla="*/ 1184 h 3418"/>
                <a:gd name="T16" fmla="*/ 407 w 1669"/>
                <a:gd name="T17" fmla="*/ 1648 h 3418"/>
                <a:gd name="T18" fmla="*/ 0 w 1669"/>
                <a:gd name="T19" fmla="*/ 2737 h 3418"/>
                <a:gd name="T20" fmla="*/ 13 w 1669"/>
                <a:gd name="T21" fmla="*/ 2743 h 3418"/>
                <a:gd name="T22" fmla="*/ 427 w 1669"/>
                <a:gd name="T23" fmla="*/ 3354 h 3418"/>
                <a:gd name="T24" fmla="*/ 732 w 1669"/>
                <a:gd name="T25" fmla="*/ 3392 h 3418"/>
                <a:gd name="T26" fmla="*/ 936 w 1669"/>
                <a:gd name="T27" fmla="*/ 3112 h 3418"/>
                <a:gd name="T28" fmla="*/ 853 w 1669"/>
                <a:gd name="T29" fmla="*/ 2908 h 3418"/>
                <a:gd name="T30" fmla="*/ 891 w 1669"/>
                <a:gd name="T31" fmla="*/ 2469 h 3418"/>
                <a:gd name="T32" fmla="*/ 872 w 1669"/>
                <a:gd name="T33" fmla="*/ 2106 h 3418"/>
                <a:gd name="T34" fmla="*/ 1031 w 1669"/>
                <a:gd name="T35" fmla="*/ 1788 h 3418"/>
                <a:gd name="T36" fmla="*/ 1165 w 1669"/>
                <a:gd name="T37" fmla="*/ 1177 h 3418"/>
                <a:gd name="T38" fmla="*/ 1292 w 1669"/>
                <a:gd name="T39" fmla="*/ 910 h 3418"/>
                <a:gd name="T40" fmla="*/ 1362 w 1669"/>
                <a:gd name="T41" fmla="*/ 789 h 3418"/>
                <a:gd name="T42" fmla="*/ 1547 w 1669"/>
                <a:gd name="T43" fmla="*/ 554 h 3418"/>
                <a:gd name="T44" fmla="*/ 1648 w 1669"/>
                <a:gd name="T45" fmla="*/ 356 h 3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69" h="3418">
                  <a:moveTo>
                    <a:pt x="1648" y="356"/>
                  </a:moveTo>
                  <a:lnTo>
                    <a:pt x="1648" y="356"/>
                  </a:lnTo>
                  <a:cubicBezTo>
                    <a:pt x="1057" y="0"/>
                    <a:pt x="1038" y="242"/>
                    <a:pt x="847" y="165"/>
                  </a:cubicBezTo>
                  <a:cubicBezTo>
                    <a:pt x="821" y="229"/>
                    <a:pt x="783" y="293"/>
                    <a:pt x="707" y="293"/>
                  </a:cubicBezTo>
                  <a:cubicBezTo>
                    <a:pt x="560" y="293"/>
                    <a:pt x="223" y="248"/>
                    <a:pt x="127" y="344"/>
                  </a:cubicBezTo>
                  <a:cubicBezTo>
                    <a:pt x="26" y="445"/>
                    <a:pt x="242" y="573"/>
                    <a:pt x="242" y="655"/>
                  </a:cubicBezTo>
                  <a:cubicBezTo>
                    <a:pt x="242" y="738"/>
                    <a:pt x="490" y="725"/>
                    <a:pt x="490" y="897"/>
                  </a:cubicBezTo>
                  <a:cubicBezTo>
                    <a:pt x="490" y="1069"/>
                    <a:pt x="363" y="1056"/>
                    <a:pt x="306" y="1184"/>
                  </a:cubicBezTo>
                  <a:cubicBezTo>
                    <a:pt x="248" y="1311"/>
                    <a:pt x="146" y="1566"/>
                    <a:pt x="407" y="1648"/>
                  </a:cubicBezTo>
                  <a:cubicBezTo>
                    <a:pt x="407" y="1648"/>
                    <a:pt x="185" y="2431"/>
                    <a:pt x="0" y="2737"/>
                  </a:cubicBezTo>
                  <a:cubicBezTo>
                    <a:pt x="7" y="2737"/>
                    <a:pt x="7" y="2743"/>
                    <a:pt x="13" y="2743"/>
                  </a:cubicBezTo>
                  <a:cubicBezTo>
                    <a:pt x="102" y="2838"/>
                    <a:pt x="388" y="3112"/>
                    <a:pt x="427" y="3354"/>
                  </a:cubicBezTo>
                  <a:cubicBezTo>
                    <a:pt x="541" y="3379"/>
                    <a:pt x="662" y="3417"/>
                    <a:pt x="732" y="3392"/>
                  </a:cubicBezTo>
                  <a:cubicBezTo>
                    <a:pt x="853" y="3354"/>
                    <a:pt x="878" y="3163"/>
                    <a:pt x="936" y="3112"/>
                  </a:cubicBezTo>
                  <a:cubicBezTo>
                    <a:pt x="987" y="3061"/>
                    <a:pt x="853" y="2908"/>
                    <a:pt x="853" y="2908"/>
                  </a:cubicBezTo>
                  <a:cubicBezTo>
                    <a:pt x="796" y="2749"/>
                    <a:pt x="885" y="2603"/>
                    <a:pt x="891" y="2469"/>
                  </a:cubicBezTo>
                  <a:cubicBezTo>
                    <a:pt x="904" y="2259"/>
                    <a:pt x="872" y="2106"/>
                    <a:pt x="872" y="2106"/>
                  </a:cubicBezTo>
                  <a:cubicBezTo>
                    <a:pt x="1018" y="1960"/>
                    <a:pt x="1031" y="1788"/>
                    <a:pt x="1031" y="1788"/>
                  </a:cubicBezTo>
                  <a:cubicBezTo>
                    <a:pt x="1031" y="1445"/>
                    <a:pt x="1222" y="1330"/>
                    <a:pt x="1165" y="1177"/>
                  </a:cubicBezTo>
                  <a:cubicBezTo>
                    <a:pt x="1108" y="1018"/>
                    <a:pt x="1292" y="974"/>
                    <a:pt x="1292" y="910"/>
                  </a:cubicBezTo>
                  <a:cubicBezTo>
                    <a:pt x="1292" y="840"/>
                    <a:pt x="1362" y="789"/>
                    <a:pt x="1362" y="789"/>
                  </a:cubicBezTo>
                  <a:cubicBezTo>
                    <a:pt x="1642" y="681"/>
                    <a:pt x="1547" y="554"/>
                    <a:pt x="1547" y="554"/>
                  </a:cubicBezTo>
                  <a:cubicBezTo>
                    <a:pt x="1668" y="433"/>
                    <a:pt x="1648" y="356"/>
                    <a:pt x="1648" y="35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BECB103-1225-43A5-190D-57E197C4E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ap: France</a:t>
            </a:r>
          </a:p>
        </p:txBody>
      </p:sp>
      <p:grpSp>
        <p:nvGrpSpPr>
          <p:cNvPr id="6" name="Gruppieren 96">
            <a:extLst>
              <a:ext uri="{FF2B5EF4-FFF2-40B4-BE49-F238E27FC236}">
                <a16:creationId xmlns:a16="http://schemas.microsoft.com/office/drawing/2014/main" id="{98B9059D-8C41-CF5B-BA69-528F1E6BE9DF}"/>
              </a:ext>
            </a:extLst>
          </p:cNvPr>
          <p:cNvGrpSpPr>
            <a:grpSpLocks/>
          </p:cNvGrpSpPr>
          <p:nvPr/>
        </p:nvGrpSpPr>
        <p:grpSpPr>
          <a:xfrm>
            <a:off x="5995765" y="2313784"/>
            <a:ext cx="304976" cy="304976"/>
            <a:chOff x="3476538" y="3554481"/>
            <a:chExt cx="828675" cy="828675"/>
          </a:xfrm>
        </p:grpSpPr>
        <p:sp>
          <p:nvSpPr>
            <p:cNvPr id="7" name="Träne 97">
              <a:extLst>
                <a:ext uri="{FF2B5EF4-FFF2-40B4-BE49-F238E27FC236}">
                  <a16:creationId xmlns:a16="http://schemas.microsoft.com/office/drawing/2014/main" id="{25C6BFD0-0C91-6FD0-AF43-B5BF717AADA4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Ellipse 98">
              <a:extLst>
                <a:ext uri="{FF2B5EF4-FFF2-40B4-BE49-F238E27FC236}">
                  <a16:creationId xmlns:a16="http://schemas.microsoft.com/office/drawing/2014/main" id="{E55DCC76-1C21-40E1-B532-A47539D1AEB9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7" name="Inhaltsplatzhalter 2">
            <a:extLst>
              <a:ext uri="{FF2B5EF4-FFF2-40B4-BE49-F238E27FC236}">
                <a16:creationId xmlns:a16="http://schemas.microsoft.com/office/drawing/2014/main" id="{14AE7DF8-EC88-2341-1967-80512C67B705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ontinen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Europe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b="1">
              <a:solidFill>
                <a:schemeClr val="accent1"/>
              </a:solidFill>
              <a:sym typeface="Futura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apital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Paris</a:t>
            </a:r>
          </a:p>
          <a:p>
            <a:pPr>
              <a:spcBef>
                <a:spcPts val="0"/>
              </a:spcBef>
            </a:pPr>
            <a:endParaRPr lang="en-US" sz="1400"/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</a:rPr>
              <a:t>Official language(s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French</a:t>
            </a:r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BEC787C9-36BB-0F21-61D9-229C601E372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</a:t>
            </a:r>
          </a:p>
        </p:txBody>
      </p:sp>
    </p:spTree>
    <p:extLst>
      <p:ext uri="{BB962C8B-B14F-4D97-AF65-F5344CB8AC3E}">
        <p14:creationId xmlns:p14="http://schemas.microsoft.com/office/powerpoint/2010/main" val="19772510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